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4"/>
  </p:notesMasterIdLst>
  <p:sldIdLst>
    <p:sldId id="1043" r:id="rId5"/>
    <p:sldId id="1044" r:id="rId6"/>
    <p:sldId id="257" r:id="rId7"/>
    <p:sldId id="1249" r:id="rId8"/>
    <p:sldId id="258" r:id="rId9"/>
    <p:sldId id="1258" r:id="rId10"/>
    <p:sldId id="1257" r:id="rId11"/>
    <p:sldId id="1256" r:id="rId12"/>
    <p:sldId id="102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thu Raj, Guru Shankar (Contractor-NBCUniversal)" initials="MRGS(N" lastIdx="1" clrIdx="0">
    <p:extLst>
      <p:ext uri="{19B8F6BF-5375-455C-9EA6-DF929625EA0E}">
        <p15:presenceInfo xmlns:p15="http://schemas.microsoft.com/office/powerpoint/2012/main" userId="S::206715985@tfayd.com::7823d9d0-1ee3-448a-87c7-0a523b9df17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907" autoAdjust="0"/>
  </p:normalViewPr>
  <p:slideViewPr>
    <p:cSldViewPr snapToGrid="0">
      <p:cViewPr varScale="1">
        <p:scale>
          <a:sx n="67" d="100"/>
          <a:sy n="67" d="100"/>
        </p:scale>
        <p:origin x="620" y="4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A710A2-0CEA-4332-9B66-2A3CC4BED566}" type="datetimeFigureOut">
              <a:rPr lang="en-US" smtClean="0"/>
              <a:t>9/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A41A8E-C0AB-422E-BDDB-993FD8D5A6C3}" type="slidenum">
              <a:rPr lang="en-US" smtClean="0"/>
              <a:t>‹#›</a:t>
            </a:fld>
            <a:endParaRPr lang="en-US"/>
          </a:p>
        </p:txBody>
      </p:sp>
    </p:spTree>
    <p:extLst>
      <p:ext uri="{BB962C8B-B14F-4D97-AF65-F5344CB8AC3E}">
        <p14:creationId xmlns:p14="http://schemas.microsoft.com/office/powerpoint/2010/main" val="7053643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160C34-07E2-4E82-907A-738901797E4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E77C6D2-2D3B-4182-93B7-7335B3195F68}"/>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300FAB63-D3EE-4E0D-B36E-16930B3FB4D8}"/>
              </a:ext>
            </a:extLst>
          </p:cNvPr>
          <p:cNvSpPr txBox="1">
            <a:spLocks noGrp="1"/>
          </p:cNvSpPr>
          <p:nvPr>
            <p:ph type="sldNum" sz="quarter" idx="8"/>
          </p:nvPr>
        </p:nvSpPr>
        <p:spPr/>
        <p:txBody>
          <a:bodyPr/>
          <a:lstStyle/>
          <a:p>
            <a:pPr lvl="0"/>
            <a:fld id="{419E938F-25AE-437B-B779-B906CEB161BD}" type="slidenum">
              <a:t>4</a:t>
            </a:fld>
            <a:endParaRPr lang="pt-BR"/>
          </a:p>
        </p:txBody>
      </p:sp>
      <p:sp>
        <p:nvSpPr>
          <p:cNvPr id="5" name="Footer Placeholder 4">
            <a:extLst>
              <a:ext uri="{FF2B5EF4-FFF2-40B4-BE49-F238E27FC236}">
                <a16:creationId xmlns:a16="http://schemas.microsoft.com/office/drawing/2014/main" id="{DF27F3E9-B345-4E9D-BD5D-2ECAF015A331}"/>
              </a:ext>
            </a:extLst>
          </p:cNvPr>
          <p:cNvSpPr txBox="1">
            <a:spLocks noGrp="1"/>
          </p:cNvSpPr>
          <p:nvPr>
            <p:ph type="ftr" sz="quarter" idx="9"/>
          </p:nvPr>
        </p:nvSpPr>
        <p:spPr/>
        <p:txBody>
          <a:bodyPr/>
          <a:lstStyle/>
          <a:p>
            <a:pPr lvl="0"/>
            <a:r>
              <a:rPr lang="pt-BR"/>
              <a:t>UPR MONTHLY REPORT</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160C34-07E2-4E82-907A-738901797E4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E77C6D2-2D3B-4182-93B7-7335B3195F68}"/>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300FAB63-D3EE-4E0D-B36E-16930B3FB4D8}"/>
              </a:ext>
            </a:extLst>
          </p:cNvPr>
          <p:cNvSpPr txBox="1">
            <a:spLocks noGrp="1"/>
          </p:cNvSpPr>
          <p:nvPr>
            <p:ph type="sldNum" sz="quarter" idx="8"/>
          </p:nvPr>
        </p:nvSpPr>
        <p:spPr/>
        <p:txBody>
          <a:bodyPr/>
          <a:lstStyle/>
          <a:p>
            <a:pPr lvl="0"/>
            <a:fld id="{419E938F-25AE-437B-B779-B906CEB161BD}" type="slidenum">
              <a:t>7</a:t>
            </a:fld>
            <a:endParaRPr lang="pt-BR"/>
          </a:p>
        </p:txBody>
      </p:sp>
      <p:sp>
        <p:nvSpPr>
          <p:cNvPr id="5" name="Footer Placeholder 4">
            <a:extLst>
              <a:ext uri="{FF2B5EF4-FFF2-40B4-BE49-F238E27FC236}">
                <a16:creationId xmlns:a16="http://schemas.microsoft.com/office/drawing/2014/main" id="{DF27F3E9-B345-4E9D-BD5D-2ECAF015A331}"/>
              </a:ext>
            </a:extLst>
          </p:cNvPr>
          <p:cNvSpPr txBox="1">
            <a:spLocks noGrp="1"/>
          </p:cNvSpPr>
          <p:nvPr>
            <p:ph type="ftr" sz="quarter" idx="9"/>
          </p:nvPr>
        </p:nvSpPr>
        <p:spPr/>
        <p:txBody>
          <a:bodyPr/>
          <a:lstStyle/>
          <a:p>
            <a:pPr lvl="0"/>
            <a:r>
              <a:rPr lang="pt-BR"/>
              <a:t>UPR MONTHLY REPORT</a:t>
            </a:r>
          </a:p>
        </p:txBody>
      </p:sp>
    </p:spTree>
    <p:extLst>
      <p:ext uri="{BB962C8B-B14F-4D97-AF65-F5344CB8AC3E}">
        <p14:creationId xmlns:p14="http://schemas.microsoft.com/office/powerpoint/2010/main" val="34664466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436743-7F2F-4C36-9019-38B0332275C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8902C70D-B35D-414C-82F0-00F13A64AAF5}"/>
              </a:ext>
            </a:extLst>
          </p:cNvPr>
          <p:cNvSpPr txBox="1">
            <a:spLocks noGrp="1"/>
          </p:cNvSpPr>
          <p:nvPr>
            <p:ph type="body" sz="quarter" idx="1"/>
          </p:nvPr>
        </p:nvSpPr>
        <p:spPr/>
        <p:txBody>
          <a:bodyPr/>
          <a:lstStyle/>
          <a:p>
            <a:endParaRPr lang="en-US"/>
          </a:p>
        </p:txBody>
      </p:sp>
      <p:sp>
        <p:nvSpPr>
          <p:cNvPr id="4" name="Slide Number Placeholder 3">
            <a:extLst>
              <a:ext uri="{FF2B5EF4-FFF2-40B4-BE49-F238E27FC236}">
                <a16:creationId xmlns:a16="http://schemas.microsoft.com/office/drawing/2014/main" id="{D41F6E31-012A-4FDE-B658-1A2556E150F0}"/>
              </a:ext>
            </a:extLst>
          </p:cNvPr>
          <p:cNvSpPr txBox="1">
            <a:spLocks noGrp="1"/>
          </p:cNvSpPr>
          <p:nvPr>
            <p:ph type="sldNum" sz="quarter" idx="8"/>
          </p:nvPr>
        </p:nvSpPr>
        <p:spPr/>
        <p:txBody>
          <a:bodyPr/>
          <a:lstStyle/>
          <a:p>
            <a:pPr lvl="0"/>
            <a:fld id="{D668C645-BD46-477C-95A1-E055E97862D7}" type="slidenum">
              <a:t>8</a:t>
            </a:fld>
            <a:endParaRPr lang="pt-BR"/>
          </a:p>
        </p:txBody>
      </p:sp>
      <p:sp>
        <p:nvSpPr>
          <p:cNvPr id="5" name="Footer Placeholder 4">
            <a:extLst>
              <a:ext uri="{FF2B5EF4-FFF2-40B4-BE49-F238E27FC236}">
                <a16:creationId xmlns:a16="http://schemas.microsoft.com/office/drawing/2014/main" id="{6651FA80-2B1C-4EF1-916B-C26AD6DDCB3B}"/>
              </a:ext>
            </a:extLst>
          </p:cNvPr>
          <p:cNvSpPr txBox="1">
            <a:spLocks noGrp="1"/>
          </p:cNvSpPr>
          <p:nvPr>
            <p:ph type="ftr" sz="quarter" idx="9"/>
          </p:nvPr>
        </p:nvSpPr>
        <p:spPr/>
        <p:txBody>
          <a:bodyPr/>
          <a:lstStyle/>
          <a:p>
            <a:pPr lvl="0"/>
            <a:r>
              <a:rPr lang="pt-BR"/>
              <a:t>UPR MONTHLY REPORT</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1.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4964A-AE18-4731-831C-CBB63321CE9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2DA5460-73B6-4EA1-8C43-8922E3110F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76E4B9B-0782-4852-89D7-FB9054F1C806}"/>
              </a:ext>
            </a:extLst>
          </p:cNvPr>
          <p:cNvSpPr>
            <a:spLocks noGrp="1"/>
          </p:cNvSpPr>
          <p:nvPr>
            <p:ph type="dt" sz="half" idx="10"/>
          </p:nvPr>
        </p:nvSpPr>
        <p:spPr/>
        <p:txBody>
          <a:bodyPr/>
          <a:lstStyle/>
          <a:p>
            <a:fld id="{F637A09D-D6E1-4345-8FB8-9F5CA9F0010D}" type="datetimeFigureOut">
              <a:rPr lang="en-US" smtClean="0"/>
              <a:t>9/5/2022</a:t>
            </a:fld>
            <a:endParaRPr lang="en-US"/>
          </a:p>
        </p:txBody>
      </p:sp>
      <p:sp>
        <p:nvSpPr>
          <p:cNvPr id="5" name="Footer Placeholder 4">
            <a:extLst>
              <a:ext uri="{FF2B5EF4-FFF2-40B4-BE49-F238E27FC236}">
                <a16:creationId xmlns:a16="http://schemas.microsoft.com/office/drawing/2014/main" id="{E1E14F15-25ED-46CB-84DC-75F1B35290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4ACE01-16FD-473E-954F-76064D090CAB}"/>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29310736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14564-D742-41F3-A862-BD6FB1B7D76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0E15E5A-93DD-4502-936C-50F0216FCB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15B597-33F1-4BB4-86D4-7906F50A1CE6}"/>
              </a:ext>
            </a:extLst>
          </p:cNvPr>
          <p:cNvSpPr>
            <a:spLocks noGrp="1"/>
          </p:cNvSpPr>
          <p:nvPr>
            <p:ph type="dt" sz="half" idx="10"/>
          </p:nvPr>
        </p:nvSpPr>
        <p:spPr/>
        <p:txBody>
          <a:bodyPr/>
          <a:lstStyle/>
          <a:p>
            <a:fld id="{F637A09D-D6E1-4345-8FB8-9F5CA9F0010D}" type="datetimeFigureOut">
              <a:rPr lang="en-US" smtClean="0"/>
              <a:t>9/5/2022</a:t>
            </a:fld>
            <a:endParaRPr lang="en-US"/>
          </a:p>
        </p:txBody>
      </p:sp>
      <p:sp>
        <p:nvSpPr>
          <p:cNvPr id="5" name="Footer Placeholder 4">
            <a:extLst>
              <a:ext uri="{FF2B5EF4-FFF2-40B4-BE49-F238E27FC236}">
                <a16:creationId xmlns:a16="http://schemas.microsoft.com/office/drawing/2014/main" id="{4216A496-22D6-403D-B2DF-437A0135FB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B617B0-6AAF-481B-B58B-1F29F5644BB3}"/>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5531279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59A1E0C-1A45-4EFE-AC4E-B3F98FC45F4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C6B6BC7-7858-420D-B413-4398AD06EA0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DF9669-699B-4039-A69E-792ED65C4093}"/>
              </a:ext>
            </a:extLst>
          </p:cNvPr>
          <p:cNvSpPr>
            <a:spLocks noGrp="1"/>
          </p:cNvSpPr>
          <p:nvPr>
            <p:ph type="dt" sz="half" idx="10"/>
          </p:nvPr>
        </p:nvSpPr>
        <p:spPr/>
        <p:txBody>
          <a:bodyPr/>
          <a:lstStyle/>
          <a:p>
            <a:fld id="{F637A09D-D6E1-4345-8FB8-9F5CA9F0010D}" type="datetimeFigureOut">
              <a:rPr lang="en-US" smtClean="0"/>
              <a:t>9/5/2022</a:t>
            </a:fld>
            <a:endParaRPr lang="en-US"/>
          </a:p>
        </p:txBody>
      </p:sp>
      <p:sp>
        <p:nvSpPr>
          <p:cNvPr id="5" name="Footer Placeholder 4">
            <a:extLst>
              <a:ext uri="{FF2B5EF4-FFF2-40B4-BE49-F238E27FC236}">
                <a16:creationId xmlns:a16="http://schemas.microsoft.com/office/drawing/2014/main" id="{A0E63BD0-4DB4-4794-A0A2-05801A17AF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F19649-871C-4CBF-948F-4D8986F806D6}"/>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21984745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Diapositive de titre">
    <p:bg>
      <p:bgPr>
        <a:solidFill>
          <a:srgbClr val="272936"/>
        </a:solidFill>
        <a:effectLst/>
      </p:bgPr>
    </p:bg>
    <p:spTree>
      <p:nvGrpSpPr>
        <p:cNvPr id="1" name=""/>
        <p:cNvGrpSpPr/>
        <p:nvPr/>
      </p:nvGrpSpPr>
      <p:grpSpPr>
        <a:xfrm>
          <a:off x="0" y="0"/>
          <a:ext cx="0" cy="0"/>
          <a:chOff x="0" y="0"/>
          <a:chExt cx="0" cy="0"/>
        </a:xfrm>
      </p:grpSpPr>
      <p:sp>
        <p:nvSpPr>
          <p:cNvPr id="2" name="Graphic 13">
            <a:extLst>
              <a:ext uri="{FF2B5EF4-FFF2-40B4-BE49-F238E27FC236}">
                <a16:creationId xmlns:a16="http://schemas.microsoft.com/office/drawing/2014/main" id="{E32CC810-C0EE-4D42-A1CE-80AF2D19FF5D}"/>
              </a:ext>
            </a:extLst>
          </p:cNvPr>
          <p:cNvSpPr/>
          <p:nvPr/>
        </p:nvSpPr>
        <p:spPr>
          <a:xfrm>
            <a:off x="263356" y="908721"/>
            <a:ext cx="10199254" cy="6192691"/>
          </a:xfrm>
          <a:custGeom>
            <a:avLst/>
            <a:gdLst>
              <a:gd name="f0" fmla="val 10800000"/>
              <a:gd name="f1" fmla="val 5400000"/>
              <a:gd name="f2" fmla="val 180"/>
              <a:gd name="f3" fmla="val w"/>
              <a:gd name="f4" fmla="val h"/>
              <a:gd name="f5" fmla="val 0"/>
              <a:gd name="f6" fmla="val 7528033"/>
              <a:gd name="f7" fmla="val 4673434"/>
              <a:gd name="f8" fmla="val 36195"/>
              <a:gd name="f9" fmla="val 4661052"/>
              <a:gd name="f10" fmla="val 953"/>
              <a:gd name="f11" fmla="val 4656289"/>
              <a:gd name="f12" fmla="val 145733"/>
              <a:gd name="f13" fmla="val 4224807"/>
              <a:gd name="f14" fmla="val 538163"/>
              <a:gd name="f15" fmla="val 3702837"/>
              <a:gd name="f16" fmla="val 768668"/>
              <a:gd name="f17" fmla="val 3396132"/>
              <a:gd name="f18" fmla="val 1038225"/>
              <a:gd name="f19" fmla="val 3118954"/>
              <a:gd name="f20" fmla="val 1340168"/>
              <a:gd name="f21" fmla="val 2878924"/>
              <a:gd name="f22" fmla="val 1717358"/>
              <a:gd name="f23" fmla="val 2577934"/>
              <a:gd name="f24" fmla="val 2145983"/>
              <a:gd name="f25" fmla="val 2334094"/>
              <a:gd name="f26" fmla="val 2613660"/>
              <a:gd name="f27" fmla="val 2154072"/>
              <a:gd name="f28" fmla="val 2621280"/>
              <a:gd name="f29" fmla="val 2151214"/>
              <a:gd name="f30" fmla="val 2628900"/>
              <a:gd name="f31" fmla="val 2155024"/>
              <a:gd name="f32" fmla="val 3289935"/>
              <a:gd name="f33" fmla="val 2497924"/>
              <a:gd name="f34" fmla="val 3941445"/>
              <a:gd name="f35" fmla="val 2718904"/>
              <a:gd name="f36" fmla="val 4513898"/>
              <a:gd name="f37" fmla="val 2794152"/>
              <a:gd name="f38" fmla="val 5095875"/>
              <a:gd name="f39" fmla="val 2871304"/>
              <a:gd name="f40" fmla="val 5554980"/>
              <a:gd name="f41" fmla="val 2790341"/>
              <a:gd name="f42" fmla="val 5841683"/>
              <a:gd name="f43" fmla="val 2562694"/>
              <a:gd name="f44" fmla="val 6168390"/>
              <a:gd name="f45" fmla="val 2302662"/>
              <a:gd name="f46" fmla="val 6257925"/>
              <a:gd name="f47" fmla="val 1849271"/>
              <a:gd name="f48" fmla="val 6102668"/>
              <a:gd name="f49" fmla="val 1252054"/>
              <a:gd name="f50" fmla="val 5969318"/>
              <a:gd name="f51" fmla="val 741514"/>
              <a:gd name="f52" fmla="val 6020753"/>
              <a:gd name="f53" fmla="val 376706"/>
              <a:gd name="f54" fmla="val 6256020"/>
              <a:gd name="f55" fmla="val 168109"/>
              <a:gd name="f56" fmla="val 6480810"/>
              <a:gd name="f57" fmla="val -31916"/>
              <a:gd name="f58" fmla="val 7203281"/>
              <a:gd name="f59" fmla="val 27615"/>
              <a:gd name="f60" fmla="val 7391400"/>
              <a:gd name="f61" fmla="val 7136"/>
              <a:gd name="f62" fmla="val 7579519"/>
              <a:gd name="f63" fmla="val -13343"/>
              <a:gd name="f64" fmla="val 7569677"/>
              <a:gd name="f65" fmla="val 13645"/>
              <a:gd name="f66" fmla="val 7384733"/>
              <a:gd name="f67" fmla="val 45236"/>
              <a:gd name="f68" fmla="val 7199789"/>
              <a:gd name="f69" fmla="val 76827"/>
              <a:gd name="f70" fmla="val 6550343"/>
              <a:gd name="f71" fmla="val -41441"/>
              <a:gd name="f72" fmla="val 6281738"/>
              <a:gd name="f73" fmla="val 196684"/>
              <a:gd name="f74" fmla="val 6058853"/>
              <a:gd name="f75" fmla="val 394804"/>
              <a:gd name="f76" fmla="val 6011228"/>
              <a:gd name="f77" fmla="val 747229"/>
              <a:gd name="f78" fmla="val 6139815"/>
              <a:gd name="f79" fmla="val 1242529"/>
              <a:gd name="f80" fmla="val 6221730"/>
              <a:gd name="f81" fmla="val 1557806"/>
              <a:gd name="f82" fmla="val 6237923"/>
              <a:gd name="f83" fmla="val 1834031"/>
              <a:gd name="f84" fmla="val 6187440"/>
              <a:gd name="f85" fmla="val 2064537"/>
              <a:gd name="f86" fmla="val 6138863"/>
              <a:gd name="f87" fmla="val 2283612"/>
              <a:gd name="f88" fmla="val 6031230"/>
              <a:gd name="f89" fmla="val 2460777"/>
              <a:gd name="f90" fmla="val 5866448"/>
              <a:gd name="f91" fmla="val 2593174"/>
              <a:gd name="f92" fmla="val 5572125"/>
              <a:gd name="f93" fmla="val 2828441"/>
              <a:gd name="f94" fmla="val 5102543"/>
              <a:gd name="f95" fmla="val 2911309"/>
              <a:gd name="f96" fmla="val 4510088"/>
              <a:gd name="f97" fmla="val 2833204"/>
              <a:gd name="f98" fmla="val 3935730"/>
              <a:gd name="f99" fmla="val 2757004"/>
              <a:gd name="f100" fmla="val 3282315"/>
              <a:gd name="f101" fmla="val 2536024"/>
              <a:gd name="f102" fmla="val 2620328"/>
              <a:gd name="f103" fmla="val 2194077"/>
              <a:gd name="f104" fmla="val 1574483"/>
              <a:gd name="f105" fmla="val 2598889"/>
              <a:gd name="f106" fmla="val 927735"/>
              <a:gd name="f107" fmla="val 3251352"/>
              <a:gd name="f108" fmla="val 568643"/>
              <a:gd name="f109" fmla="val 3726649"/>
              <a:gd name="f110" fmla="val 180023"/>
              <a:gd name="f111" fmla="val 4242904"/>
              <a:gd name="f112" fmla="val 37148"/>
              <a:gd name="f113" fmla="val 4668672"/>
              <a:gd name="f114" fmla="+- 0 0 -90"/>
              <a:gd name="f115" fmla="*/ f3 1 7528033"/>
              <a:gd name="f116" fmla="*/ f4 1 4673434"/>
              <a:gd name="f117" fmla="val f5"/>
              <a:gd name="f118" fmla="val f6"/>
              <a:gd name="f119" fmla="val f7"/>
              <a:gd name="f120" fmla="*/ f114 f0 1"/>
              <a:gd name="f121" fmla="+- f119 0 f117"/>
              <a:gd name="f122" fmla="+- f118 0 f117"/>
              <a:gd name="f123" fmla="*/ f120 1 f2"/>
              <a:gd name="f124" fmla="*/ f122 1 7528033"/>
              <a:gd name="f125" fmla="*/ f121 1 4673434"/>
              <a:gd name="f126" fmla="*/ 36195 f122 1"/>
              <a:gd name="f127" fmla="*/ 4673434 f121 1"/>
              <a:gd name="f128" fmla="*/ 0 f122 1"/>
              <a:gd name="f129" fmla="*/ 4661052 f121 1"/>
              <a:gd name="f130" fmla="*/ 538163 f122 1"/>
              <a:gd name="f131" fmla="*/ 3702837 f121 1"/>
              <a:gd name="f132" fmla="*/ 1340168 f122 1"/>
              <a:gd name="f133" fmla="*/ 2878924 f121 1"/>
              <a:gd name="f134" fmla="*/ 2613660 f122 1"/>
              <a:gd name="f135" fmla="*/ 2154072 f121 1"/>
              <a:gd name="f136" fmla="*/ 2621280 f122 1"/>
              <a:gd name="f137" fmla="*/ 2151214 f121 1"/>
              <a:gd name="f138" fmla="*/ 2628900 f122 1"/>
              <a:gd name="f139" fmla="*/ 2155024 f121 1"/>
              <a:gd name="f140" fmla="*/ 4513898 f122 1"/>
              <a:gd name="f141" fmla="*/ 2794152 f121 1"/>
              <a:gd name="f142" fmla="*/ 5841683 f122 1"/>
              <a:gd name="f143" fmla="*/ 2562694 f121 1"/>
              <a:gd name="f144" fmla="*/ 6102668 f122 1"/>
              <a:gd name="f145" fmla="*/ 1252054 f121 1"/>
              <a:gd name="f146" fmla="*/ 6256020 f122 1"/>
              <a:gd name="f147" fmla="*/ 168109 f121 1"/>
              <a:gd name="f148" fmla="*/ 7391400 f122 1"/>
              <a:gd name="f149" fmla="*/ 7136 f121 1"/>
              <a:gd name="f150" fmla="*/ 7384733 f122 1"/>
              <a:gd name="f151" fmla="*/ 45236 f121 1"/>
              <a:gd name="f152" fmla="*/ 6281738 f122 1"/>
              <a:gd name="f153" fmla="*/ 196684 f121 1"/>
              <a:gd name="f154" fmla="*/ 6139815 f122 1"/>
              <a:gd name="f155" fmla="*/ 1242529 f121 1"/>
              <a:gd name="f156" fmla="*/ 6187440 f122 1"/>
              <a:gd name="f157" fmla="*/ 2064537 f121 1"/>
              <a:gd name="f158" fmla="*/ 5866448 f122 1"/>
              <a:gd name="f159" fmla="*/ 2593174 f121 1"/>
              <a:gd name="f160" fmla="*/ 4510088 f122 1"/>
              <a:gd name="f161" fmla="*/ 2833204 f121 1"/>
              <a:gd name="f162" fmla="*/ 2620328 f122 1"/>
              <a:gd name="f163" fmla="*/ 2194077 f121 1"/>
              <a:gd name="f164" fmla="*/ 568643 f122 1"/>
              <a:gd name="f165" fmla="*/ 3726649 f121 1"/>
              <a:gd name="f166" fmla="+- f123 0 f1"/>
              <a:gd name="f167" fmla="*/ f126 1 7528033"/>
              <a:gd name="f168" fmla="*/ f127 1 4673434"/>
              <a:gd name="f169" fmla="*/ f128 1 7528033"/>
              <a:gd name="f170" fmla="*/ f129 1 4673434"/>
              <a:gd name="f171" fmla="*/ f130 1 7528033"/>
              <a:gd name="f172" fmla="*/ f131 1 4673434"/>
              <a:gd name="f173" fmla="*/ f132 1 7528033"/>
              <a:gd name="f174" fmla="*/ f133 1 4673434"/>
              <a:gd name="f175" fmla="*/ f134 1 7528033"/>
              <a:gd name="f176" fmla="*/ f135 1 4673434"/>
              <a:gd name="f177" fmla="*/ f136 1 7528033"/>
              <a:gd name="f178" fmla="*/ f137 1 4673434"/>
              <a:gd name="f179" fmla="*/ f138 1 7528033"/>
              <a:gd name="f180" fmla="*/ f139 1 4673434"/>
              <a:gd name="f181" fmla="*/ f140 1 7528033"/>
              <a:gd name="f182" fmla="*/ f141 1 4673434"/>
              <a:gd name="f183" fmla="*/ f142 1 7528033"/>
              <a:gd name="f184" fmla="*/ f143 1 4673434"/>
              <a:gd name="f185" fmla="*/ f144 1 7528033"/>
              <a:gd name="f186" fmla="*/ f145 1 4673434"/>
              <a:gd name="f187" fmla="*/ f146 1 7528033"/>
              <a:gd name="f188" fmla="*/ f147 1 4673434"/>
              <a:gd name="f189" fmla="*/ f148 1 7528033"/>
              <a:gd name="f190" fmla="*/ f149 1 4673434"/>
              <a:gd name="f191" fmla="*/ f150 1 7528033"/>
              <a:gd name="f192" fmla="*/ f151 1 4673434"/>
              <a:gd name="f193" fmla="*/ f152 1 7528033"/>
              <a:gd name="f194" fmla="*/ f153 1 4673434"/>
              <a:gd name="f195" fmla="*/ f154 1 7528033"/>
              <a:gd name="f196" fmla="*/ f155 1 4673434"/>
              <a:gd name="f197" fmla="*/ f156 1 7528033"/>
              <a:gd name="f198" fmla="*/ f157 1 4673434"/>
              <a:gd name="f199" fmla="*/ f158 1 7528033"/>
              <a:gd name="f200" fmla="*/ f159 1 4673434"/>
              <a:gd name="f201" fmla="*/ f160 1 7528033"/>
              <a:gd name="f202" fmla="*/ f161 1 4673434"/>
              <a:gd name="f203" fmla="*/ f162 1 7528033"/>
              <a:gd name="f204" fmla="*/ f163 1 4673434"/>
              <a:gd name="f205" fmla="*/ f164 1 7528033"/>
              <a:gd name="f206" fmla="*/ f165 1 4673434"/>
              <a:gd name="f207" fmla="*/ f117 1 f124"/>
              <a:gd name="f208" fmla="*/ f118 1 f124"/>
              <a:gd name="f209" fmla="*/ f117 1 f125"/>
              <a:gd name="f210" fmla="*/ f119 1 f125"/>
              <a:gd name="f211" fmla="*/ f167 1 f124"/>
              <a:gd name="f212" fmla="*/ f168 1 f125"/>
              <a:gd name="f213" fmla="*/ f169 1 f124"/>
              <a:gd name="f214" fmla="*/ f170 1 f125"/>
              <a:gd name="f215" fmla="*/ f171 1 f124"/>
              <a:gd name="f216" fmla="*/ f172 1 f125"/>
              <a:gd name="f217" fmla="*/ f173 1 f124"/>
              <a:gd name="f218" fmla="*/ f174 1 f125"/>
              <a:gd name="f219" fmla="*/ f175 1 f124"/>
              <a:gd name="f220" fmla="*/ f176 1 f125"/>
              <a:gd name="f221" fmla="*/ f177 1 f124"/>
              <a:gd name="f222" fmla="*/ f178 1 f125"/>
              <a:gd name="f223" fmla="*/ f179 1 f124"/>
              <a:gd name="f224" fmla="*/ f180 1 f125"/>
              <a:gd name="f225" fmla="*/ f181 1 f124"/>
              <a:gd name="f226" fmla="*/ f182 1 f125"/>
              <a:gd name="f227" fmla="*/ f183 1 f124"/>
              <a:gd name="f228" fmla="*/ f184 1 f125"/>
              <a:gd name="f229" fmla="*/ f185 1 f124"/>
              <a:gd name="f230" fmla="*/ f186 1 f125"/>
              <a:gd name="f231" fmla="*/ f187 1 f124"/>
              <a:gd name="f232" fmla="*/ f188 1 f125"/>
              <a:gd name="f233" fmla="*/ f189 1 f124"/>
              <a:gd name="f234" fmla="*/ f190 1 f125"/>
              <a:gd name="f235" fmla="*/ f191 1 f124"/>
              <a:gd name="f236" fmla="*/ f192 1 f125"/>
              <a:gd name="f237" fmla="*/ f193 1 f124"/>
              <a:gd name="f238" fmla="*/ f194 1 f125"/>
              <a:gd name="f239" fmla="*/ f195 1 f124"/>
              <a:gd name="f240" fmla="*/ f196 1 f125"/>
              <a:gd name="f241" fmla="*/ f197 1 f124"/>
              <a:gd name="f242" fmla="*/ f198 1 f125"/>
              <a:gd name="f243" fmla="*/ f199 1 f124"/>
              <a:gd name="f244" fmla="*/ f200 1 f125"/>
              <a:gd name="f245" fmla="*/ f201 1 f124"/>
              <a:gd name="f246" fmla="*/ f202 1 f125"/>
              <a:gd name="f247" fmla="*/ f203 1 f124"/>
              <a:gd name="f248" fmla="*/ f204 1 f125"/>
              <a:gd name="f249" fmla="*/ f205 1 f124"/>
              <a:gd name="f250" fmla="*/ f206 1 f125"/>
              <a:gd name="f251" fmla="*/ f207 f115 1"/>
              <a:gd name="f252" fmla="*/ f208 f115 1"/>
              <a:gd name="f253" fmla="*/ f210 f116 1"/>
              <a:gd name="f254" fmla="*/ f209 f116 1"/>
              <a:gd name="f255" fmla="*/ f211 f115 1"/>
              <a:gd name="f256" fmla="*/ f212 f116 1"/>
              <a:gd name="f257" fmla="*/ f213 f115 1"/>
              <a:gd name="f258" fmla="*/ f214 f116 1"/>
              <a:gd name="f259" fmla="*/ f215 f115 1"/>
              <a:gd name="f260" fmla="*/ f216 f116 1"/>
              <a:gd name="f261" fmla="*/ f217 f115 1"/>
              <a:gd name="f262" fmla="*/ f218 f116 1"/>
              <a:gd name="f263" fmla="*/ f219 f115 1"/>
              <a:gd name="f264" fmla="*/ f220 f116 1"/>
              <a:gd name="f265" fmla="*/ f221 f115 1"/>
              <a:gd name="f266" fmla="*/ f222 f116 1"/>
              <a:gd name="f267" fmla="*/ f223 f115 1"/>
              <a:gd name="f268" fmla="*/ f224 f116 1"/>
              <a:gd name="f269" fmla="*/ f225 f115 1"/>
              <a:gd name="f270" fmla="*/ f226 f116 1"/>
              <a:gd name="f271" fmla="*/ f227 f115 1"/>
              <a:gd name="f272" fmla="*/ f228 f116 1"/>
              <a:gd name="f273" fmla="*/ f229 f115 1"/>
              <a:gd name="f274" fmla="*/ f230 f116 1"/>
              <a:gd name="f275" fmla="*/ f231 f115 1"/>
              <a:gd name="f276" fmla="*/ f232 f116 1"/>
              <a:gd name="f277" fmla="*/ f233 f115 1"/>
              <a:gd name="f278" fmla="*/ f234 f116 1"/>
              <a:gd name="f279" fmla="*/ f235 f115 1"/>
              <a:gd name="f280" fmla="*/ f236 f116 1"/>
              <a:gd name="f281" fmla="*/ f237 f115 1"/>
              <a:gd name="f282" fmla="*/ f238 f116 1"/>
              <a:gd name="f283" fmla="*/ f239 f115 1"/>
              <a:gd name="f284" fmla="*/ f240 f116 1"/>
              <a:gd name="f285" fmla="*/ f241 f115 1"/>
              <a:gd name="f286" fmla="*/ f242 f116 1"/>
              <a:gd name="f287" fmla="*/ f243 f115 1"/>
              <a:gd name="f288" fmla="*/ f244 f116 1"/>
              <a:gd name="f289" fmla="*/ f245 f115 1"/>
              <a:gd name="f290" fmla="*/ f246 f116 1"/>
              <a:gd name="f291" fmla="*/ f247 f115 1"/>
              <a:gd name="f292" fmla="*/ f248 f116 1"/>
              <a:gd name="f293" fmla="*/ f249 f115 1"/>
              <a:gd name="f294" fmla="*/ f250 f116 1"/>
            </a:gdLst>
            <a:ahLst/>
            <a:cxnLst>
              <a:cxn ang="3cd4">
                <a:pos x="hc" y="t"/>
              </a:cxn>
              <a:cxn ang="0">
                <a:pos x="r" y="vc"/>
              </a:cxn>
              <a:cxn ang="cd4">
                <a:pos x="hc" y="b"/>
              </a:cxn>
              <a:cxn ang="cd2">
                <a:pos x="l" y="vc"/>
              </a:cxn>
              <a:cxn ang="f166">
                <a:pos x="f255" y="f256"/>
              </a:cxn>
              <a:cxn ang="f166">
                <a:pos x="f257" y="f258"/>
              </a:cxn>
              <a:cxn ang="f166">
                <a:pos x="f259" y="f260"/>
              </a:cxn>
              <a:cxn ang="f166">
                <a:pos x="f261" y="f262"/>
              </a:cxn>
              <a:cxn ang="f166">
                <a:pos x="f263" y="f264"/>
              </a:cxn>
              <a:cxn ang="f166">
                <a:pos x="f265" y="f266"/>
              </a:cxn>
              <a:cxn ang="f166">
                <a:pos x="f267" y="f268"/>
              </a:cxn>
              <a:cxn ang="f166">
                <a:pos x="f269" y="f270"/>
              </a:cxn>
              <a:cxn ang="f166">
                <a:pos x="f271" y="f272"/>
              </a:cxn>
              <a:cxn ang="f166">
                <a:pos x="f273" y="f274"/>
              </a:cxn>
              <a:cxn ang="f166">
                <a:pos x="f275" y="f276"/>
              </a:cxn>
              <a:cxn ang="f166">
                <a:pos x="f277" y="f278"/>
              </a:cxn>
              <a:cxn ang="f166">
                <a:pos x="f279" y="f280"/>
              </a:cxn>
              <a:cxn ang="f166">
                <a:pos x="f281" y="f282"/>
              </a:cxn>
              <a:cxn ang="f166">
                <a:pos x="f283" y="f284"/>
              </a:cxn>
              <a:cxn ang="f166">
                <a:pos x="f285" y="f286"/>
              </a:cxn>
              <a:cxn ang="f166">
                <a:pos x="f287" y="f288"/>
              </a:cxn>
              <a:cxn ang="f166">
                <a:pos x="f289" y="f290"/>
              </a:cxn>
              <a:cxn ang="f166">
                <a:pos x="f291" y="f292"/>
              </a:cxn>
              <a:cxn ang="f166">
                <a:pos x="f293" y="f294"/>
              </a:cxn>
              <a:cxn ang="f166">
                <a:pos x="f255" y="f256"/>
              </a:cxn>
            </a:cxnLst>
            <a:rect l="f251" t="f254" r="f252" b="f253"/>
            <a:pathLst>
              <a:path w="7528033" h="4673434">
                <a:moveTo>
                  <a:pt x="f8" y="f7"/>
                </a:moveTo>
                <a:lnTo>
                  <a:pt x="f5" y="f9"/>
                </a:lnTo>
                <a:cubicBezTo>
                  <a:pt x="f10" y="f11"/>
                  <a:pt x="f12" y="f13"/>
                  <a:pt x="f14" y="f15"/>
                </a:cubicBezTo>
                <a:cubicBezTo>
                  <a:pt x="f16" y="f17"/>
                  <a:pt x="f18" y="f19"/>
                  <a:pt x="f20" y="f21"/>
                </a:cubicBezTo>
                <a:cubicBezTo>
                  <a:pt x="f22" y="f23"/>
                  <a:pt x="f24" y="f25"/>
                  <a:pt x="f26" y="f27"/>
                </a:cubicBezTo>
                <a:lnTo>
                  <a:pt x="f28" y="f29"/>
                </a:lnTo>
                <a:lnTo>
                  <a:pt x="f30" y="f31"/>
                </a:lnTo>
                <a:cubicBezTo>
                  <a:pt x="f32" y="f33"/>
                  <a:pt x="f34" y="f35"/>
                  <a:pt x="f36" y="f37"/>
                </a:cubicBezTo>
                <a:cubicBezTo>
                  <a:pt x="f38" y="f39"/>
                  <a:pt x="f40" y="f41"/>
                  <a:pt x="f42" y="f43"/>
                </a:cubicBezTo>
                <a:cubicBezTo>
                  <a:pt x="f44" y="f45"/>
                  <a:pt x="f46" y="f47"/>
                  <a:pt x="f48" y="f49"/>
                </a:cubicBezTo>
                <a:cubicBezTo>
                  <a:pt x="f50" y="f51"/>
                  <a:pt x="f52" y="f53"/>
                  <a:pt x="f54" y="f55"/>
                </a:cubicBezTo>
                <a:cubicBezTo>
                  <a:pt x="f56" y="f57"/>
                  <a:pt x="f58" y="f59"/>
                  <a:pt x="f60" y="f61"/>
                </a:cubicBezTo>
                <a:cubicBezTo>
                  <a:pt x="f62" y="f63"/>
                  <a:pt x="f64" y="f65"/>
                  <a:pt x="f66" y="f67"/>
                </a:cubicBezTo>
                <a:cubicBezTo>
                  <a:pt x="f68" y="f69"/>
                  <a:pt x="f70" y="f71"/>
                  <a:pt x="f72" y="f73"/>
                </a:cubicBezTo>
                <a:cubicBezTo>
                  <a:pt x="f74" y="f75"/>
                  <a:pt x="f76" y="f77"/>
                  <a:pt x="f78" y="f79"/>
                </a:cubicBezTo>
                <a:cubicBezTo>
                  <a:pt x="f80" y="f81"/>
                  <a:pt x="f82" y="f83"/>
                  <a:pt x="f84" y="f85"/>
                </a:cubicBezTo>
                <a:cubicBezTo>
                  <a:pt x="f86" y="f87"/>
                  <a:pt x="f88" y="f89"/>
                  <a:pt x="f90" y="f91"/>
                </a:cubicBezTo>
                <a:cubicBezTo>
                  <a:pt x="f92" y="f93"/>
                  <a:pt x="f94" y="f95"/>
                  <a:pt x="f96" y="f97"/>
                </a:cubicBezTo>
                <a:cubicBezTo>
                  <a:pt x="f98" y="f99"/>
                  <a:pt x="f100" y="f101"/>
                  <a:pt x="f102" y="f103"/>
                </a:cubicBezTo>
                <a:cubicBezTo>
                  <a:pt x="f104" y="f105"/>
                  <a:pt x="f106" y="f107"/>
                  <a:pt x="f108" y="f109"/>
                </a:cubicBezTo>
                <a:cubicBezTo>
                  <a:pt x="f110" y="f111"/>
                  <a:pt x="f112" y="f113"/>
                  <a:pt x="f8" y="f7"/>
                </a:cubicBezTo>
                <a:close/>
              </a:path>
            </a:pathLst>
          </a:custGeom>
          <a:gradFill>
            <a:gsLst>
              <a:gs pos="0">
                <a:srgbClr val="12ABDB">
                  <a:alpha val="0"/>
                </a:srgbClr>
              </a:gs>
              <a:gs pos="100000">
                <a:srgbClr val="12ABDB">
                  <a:alpha val="17000"/>
                </a:srgbClr>
              </a:gs>
            </a:gsLst>
            <a:lin ang="16200000"/>
          </a:gradFill>
          <a:ln>
            <a:noFill/>
            <a:prstDash val="solid"/>
          </a:ln>
        </p:spPr>
        <p:txBody>
          <a:bodyPr vert="horz" wrap="square" lIns="91440" tIns="45720" rIns="91440" bIns="45720"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de-DE" sz="1800" b="0" i="0" u="none" strike="noStrike" kern="1200" cap="none" spc="0" baseline="0">
              <a:solidFill>
                <a:srgbClr val="000000"/>
              </a:solidFill>
              <a:uFillTx/>
              <a:latin typeface="Ubuntu"/>
            </a:endParaRPr>
          </a:p>
        </p:txBody>
      </p:sp>
      <p:grpSp>
        <p:nvGrpSpPr>
          <p:cNvPr id="3" name="Group 13">
            <a:extLst>
              <a:ext uri="{FF2B5EF4-FFF2-40B4-BE49-F238E27FC236}">
                <a16:creationId xmlns:a16="http://schemas.microsoft.com/office/drawing/2014/main" id="{BB901F71-2F9A-4B2E-968D-D0703DB43B18}"/>
              </a:ext>
            </a:extLst>
          </p:cNvPr>
          <p:cNvGrpSpPr/>
          <p:nvPr/>
        </p:nvGrpSpPr>
        <p:grpSpPr>
          <a:xfrm>
            <a:off x="7236287" y="231023"/>
            <a:ext cx="4765962" cy="801983"/>
            <a:chOff x="7236287" y="231023"/>
            <a:chExt cx="4765962" cy="801983"/>
          </a:xfrm>
        </p:grpSpPr>
        <p:cxnSp>
          <p:nvCxnSpPr>
            <p:cNvPr id="4" name="Straight Connector 15">
              <a:extLst>
                <a:ext uri="{FF2B5EF4-FFF2-40B4-BE49-F238E27FC236}">
                  <a16:creationId xmlns:a16="http://schemas.microsoft.com/office/drawing/2014/main" id="{A79062D7-164E-4C38-A519-17F0356D7D89}"/>
                </a:ext>
              </a:extLst>
            </p:cNvPr>
            <p:cNvCxnSpPr/>
            <p:nvPr/>
          </p:nvCxnSpPr>
          <p:spPr>
            <a:xfrm>
              <a:off x="8866525" y="373770"/>
              <a:ext cx="0" cy="512667"/>
            </a:xfrm>
            <a:prstGeom prst="straightConnector1">
              <a:avLst/>
            </a:prstGeom>
            <a:noFill/>
            <a:ln w="19046" cap="flat">
              <a:solidFill>
                <a:srgbClr val="BFBFBF"/>
              </a:solidFill>
              <a:prstDash val="solid"/>
              <a:miter/>
            </a:ln>
          </p:spPr>
        </p:cxnSp>
        <p:pic>
          <p:nvPicPr>
            <p:cNvPr id="5" name="Picture 16" descr="Image result for nbcu logo png">
              <a:extLst>
                <a:ext uri="{FF2B5EF4-FFF2-40B4-BE49-F238E27FC236}">
                  <a16:creationId xmlns:a16="http://schemas.microsoft.com/office/drawing/2014/main" id="{79B4C332-1053-4640-A8BD-D05B553812F3}"/>
                </a:ext>
              </a:extLst>
            </p:cNvPr>
            <p:cNvPicPr>
              <a:picLocks noChangeAspect="1"/>
            </p:cNvPicPr>
            <p:nvPr/>
          </p:nvPicPr>
          <p:blipFill>
            <a:blip r:embed="rId2"/>
            <a:srcRect b="39121"/>
            <a:stretch>
              <a:fillRect/>
            </a:stretch>
          </p:blipFill>
          <p:spPr>
            <a:xfrm>
              <a:off x="7236287" y="231023"/>
              <a:ext cx="1201768" cy="720620"/>
            </a:xfrm>
            <a:prstGeom prst="rect">
              <a:avLst/>
            </a:prstGeom>
            <a:noFill/>
            <a:ln>
              <a:noFill/>
            </a:ln>
          </p:spPr>
        </p:pic>
        <p:pic>
          <p:nvPicPr>
            <p:cNvPr id="6" name="Graphic 9">
              <a:extLst>
                <a:ext uri="{FF2B5EF4-FFF2-40B4-BE49-F238E27FC236}">
                  <a16:creationId xmlns:a16="http://schemas.microsoft.com/office/drawing/2014/main" id="{98F0FC78-636E-4CFC-9FED-FC7FD3084F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65679" y="422471"/>
              <a:ext cx="2736570" cy="610535"/>
            </a:xfrm>
            <a:prstGeom prst="rect">
              <a:avLst/>
            </a:prstGeom>
            <a:noFill/>
            <a:ln>
              <a:noFill/>
            </a:ln>
          </p:spPr>
        </p:pic>
      </p:grpSp>
    </p:spTree>
    <p:extLst>
      <p:ext uri="{BB962C8B-B14F-4D97-AF65-F5344CB8AC3E}">
        <p14:creationId xmlns:p14="http://schemas.microsoft.com/office/powerpoint/2010/main" val="1607987744"/>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Title Slide 2">
    <p:bg>
      <p:bgPr>
        <a:solidFill>
          <a:srgbClr val="272936"/>
        </a:solidFill>
        <a:effectLst/>
      </p:bgPr>
    </p:bg>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C42DF396-C3EC-4046-AFEC-F389D855FB44}"/>
              </a:ext>
            </a:extLst>
          </p:cNvPr>
          <p:cNvSpPr txBox="1">
            <a:spLocks noGrp="1"/>
          </p:cNvSpPr>
          <p:nvPr>
            <p:ph type="title"/>
          </p:nvPr>
        </p:nvSpPr>
        <p:spPr>
          <a:xfrm>
            <a:off x="404814" y="388190"/>
            <a:ext cx="4471982" cy="938960"/>
          </a:xfrm>
        </p:spPr>
        <p:txBody>
          <a:bodyPr/>
          <a:lstStyle>
            <a:lvl1pPr>
              <a:defRPr lang="en-US">
                <a:solidFill>
                  <a:srgbClr val="FFFFFF"/>
                </a:solidFill>
              </a:defRPr>
            </a:lvl1pPr>
          </a:lstStyle>
          <a:p>
            <a:pPr lvl="0"/>
            <a:r>
              <a:rPr lang="en-US"/>
              <a:t>Click to edit Master title style</a:t>
            </a:r>
          </a:p>
        </p:txBody>
      </p:sp>
      <p:pic>
        <p:nvPicPr>
          <p:cNvPr id="3" name="Picture Placeholder 10">
            <a:extLst>
              <a:ext uri="{FF2B5EF4-FFF2-40B4-BE49-F238E27FC236}">
                <a16:creationId xmlns:a16="http://schemas.microsoft.com/office/drawing/2014/main" id="{183891A8-8ED0-4116-9C91-745269137A8D}"/>
              </a:ext>
            </a:extLst>
          </p:cNvPr>
          <p:cNvPicPr>
            <a:picLocks noChangeAspect="1"/>
          </p:cNvPicPr>
          <p:nvPr/>
        </p:nvPicPr>
        <p:blipFill>
          <a:blip r:embed="rId2"/>
          <a:srcRect l="2839" r="32420"/>
          <a:stretch>
            <a:fillRect/>
          </a:stretch>
        </p:blipFill>
        <p:spPr>
          <a:xfrm>
            <a:off x="4354372" y="-20135"/>
            <a:ext cx="7938208" cy="6898279"/>
          </a:xfrm>
          <a:prstGeom prst="rect">
            <a:avLst/>
          </a:prstGeom>
          <a:noFill/>
          <a:ln>
            <a:noFill/>
          </a:ln>
        </p:spPr>
      </p:pic>
    </p:spTree>
    <p:extLst>
      <p:ext uri="{BB962C8B-B14F-4D97-AF65-F5344CB8AC3E}">
        <p14:creationId xmlns:p14="http://schemas.microsoft.com/office/powerpoint/2010/main" val="4151634674"/>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Final Slide 1">
    <p:bg>
      <p:bgPr>
        <a:solidFill>
          <a:srgbClr val="272936"/>
        </a:solidFill>
        <a:effectLst/>
      </p:bgPr>
    </p:bg>
    <p:spTree>
      <p:nvGrpSpPr>
        <p:cNvPr id="1" name=""/>
        <p:cNvGrpSpPr/>
        <p:nvPr/>
      </p:nvGrpSpPr>
      <p:grpSpPr>
        <a:xfrm>
          <a:off x="0" y="0"/>
          <a:ext cx="0" cy="0"/>
          <a:chOff x="0" y="0"/>
          <a:chExt cx="0" cy="0"/>
        </a:xfrm>
      </p:grpSpPr>
      <p:pic>
        <p:nvPicPr>
          <p:cNvPr id="2" name="Picture 2" descr="D:\My Work\Template\Icons\Social Media\LinkedIN.png">
            <a:hlinkClick r:id="rId2"/>
            <a:extLst>
              <a:ext uri="{FF2B5EF4-FFF2-40B4-BE49-F238E27FC236}">
                <a16:creationId xmlns:a16="http://schemas.microsoft.com/office/drawing/2014/main" id="{7D968DDC-C365-492D-89B3-EA9B96A045CB}"/>
              </a:ext>
            </a:extLst>
          </p:cNvPr>
          <p:cNvPicPr>
            <a:picLocks noChangeAspect="1"/>
          </p:cNvPicPr>
          <p:nvPr/>
        </p:nvPicPr>
        <p:blipFill>
          <a:blip r:embed="rId3"/>
          <a:srcRect/>
          <a:stretch>
            <a:fillRect/>
          </a:stretch>
        </p:blipFill>
        <p:spPr>
          <a:xfrm>
            <a:off x="810094" y="4968017"/>
            <a:ext cx="333198" cy="333198"/>
          </a:xfrm>
          <a:prstGeom prst="rect">
            <a:avLst/>
          </a:prstGeom>
          <a:noFill/>
          <a:ln>
            <a:noFill/>
          </a:ln>
        </p:spPr>
      </p:pic>
      <p:pic>
        <p:nvPicPr>
          <p:cNvPr id="3" name="Picture 4" descr="D:\My Work\Template\Icons\Social Media\SlideShare.png">
            <a:hlinkClick r:id="rId4"/>
            <a:extLst>
              <a:ext uri="{FF2B5EF4-FFF2-40B4-BE49-F238E27FC236}">
                <a16:creationId xmlns:a16="http://schemas.microsoft.com/office/drawing/2014/main" id="{5F5B1EBA-6578-4C6E-8C79-2F466B7E33B8}"/>
              </a:ext>
            </a:extLst>
          </p:cNvPr>
          <p:cNvPicPr>
            <a:picLocks noChangeAspect="1"/>
          </p:cNvPicPr>
          <p:nvPr/>
        </p:nvPicPr>
        <p:blipFill>
          <a:blip r:embed="rId5"/>
          <a:srcRect/>
          <a:stretch>
            <a:fillRect/>
          </a:stretch>
        </p:blipFill>
        <p:spPr>
          <a:xfrm>
            <a:off x="1193474" y="4968017"/>
            <a:ext cx="333198" cy="333198"/>
          </a:xfrm>
          <a:prstGeom prst="rect">
            <a:avLst/>
          </a:prstGeom>
          <a:noFill/>
          <a:ln>
            <a:noFill/>
          </a:ln>
        </p:spPr>
      </p:pic>
      <p:pic>
        <p:nvPicPr>
          <p:cNvPr id="4" name="Picture 5" descr="D:\My Work\Template\Icons\Social Media\Twitter.png">
            <a:hlinkClick r:id="rId6"/>
            <a:extLst>
              <a:ext uri="{FF2B5EF4-FFF2-40B4-BE49-F238E27FC236}">
                <a16:creationId xmlns:a16="http://schemas.microsoft.com/office/drawing/2014/main" id="{B1B512FF-D73C-4B71-94F1-22C7EE0666CF}"/>
              </a:ext>
            </a:extLst>
          </p:cNvPr>
          <p:cNvPicPr>
            <a:picLocks noChangeAspect="1"/>
          </p:cNvPicPr>
          <p:nvPr/>
        </p:nvPicPr>
        <p:blipFill>
          <a:blip r:embed="rId7"/>
          <a:srcRect/>
          <a:stretch>
            <a:fillRect/>
          </a:stretch>
        </p:blipFill>
        <p:spPr>
          <a:xfrm>
            <a:off x="1576855" y="4968017"/>
            <a:ext cx="333198" cy="333198"/>
          </a:xfrm>
          <a:prstGeom prst="rect">
            <a:avLst/>
          </a:prstGeom>
          <a:noFill/>
          <a:ln>
            <a:noFill/>
          </a:ln>
        </p:spPr>
      </p:pic>
      <p:pic>
        <p:nvPicPr>
          <p:cNvPr id="5" name="Picture 6" descr="D:\My Work\Template\Icons\Social Media\YouTube.png">
            <a:hlinkClick r:id="rId8"/>
            <a:extLst>
              <a:ext uri="{FF2B5EF4-FFF2-40B4-BE49-F238E27FC236}">
                <a16:creationId xmlns:a16="http://schemas.microsoft.com/office/drawing/2014/main" id="{79F48A72-FC56-4451-8A11-8E73A1C7CF56}"/>
              </a:ext>
            </a:extLst>
          </p:cNvPr>
          <p:cNvPicPr>
            <a:picLocks noChangeAspect="1"/>
          </p:cNvPicPr>
          <p:nvPr/>
        </p:nvPicPr>
        <p:blipFill>
          <a:blip r:embed="rId9"/>
          <a:srcRect/>
          <a:stretch>
            <a:fillRect/>
          </a:stretch>
        </p:blipFill>
        <p:spPr>
          <a:xfrm>
            <a:off x="1960226" y="4968017"/>
            <a:ext cx="333198" cy="333198"/>
          </a:xfrm>
          <a:prstGeom prst="rect">
            <a:avLst/>
          </a:prstGeom>
          <a:noFill/>
          <a:ln>
            <a:noFill/>
          </a:ln>
        </p:spPr>
      </p:pic>
      <p:pic>
        <p:nvPicPr>
          <p:cNvPr id="6" name="Picture 7" descr="D:\My Work\Template\Icons\Social Media\Facebook.png">
            <a:hlinkClick r:id="rId10"/>
            <a:extLst>
              <a:ext uri="{FF2B5EF4-FFF2-40B4-BE49-F238E27FC236}">
                <a16:creationId xmlns:a16="http://schemas.microsoft.com/office/drawing/2014/main" id="{21DEAF5A-2C84-4D04-836F-05753BB926D2}"/>
              </a:ext>
            </a:extLst>
          </p:cNvPr>
          <p:cNvPicPr>
            <a:picLocks noChangeAspect="1"/>
          </p:cNvPicPr>
          <p:nvPr/>
        </p:nvPicPr>
        <p:blipFill>
          <a:blip r:embed="rId11"/>
          <a:srcRect/>
          <a:stretch>
            <a:fillRect/>
          </a:stretch>
        </p:blipFill>
        <p:spPr>
          <a:xfrm>
            <a:off x="426723" y="4968017"/>
            <a:ext cx="333198" cy="333198"/>
          </a:xfrm>
          <a:prstGeom prst="rect">
            <a:avLst/>
          </a:prstGeom>
          <a:noFill/>
          <a:ln>
            <a:noFill/>
          </a:ln>
        </p:spPr>
      </p:pic>
      <p:sp>
        <p:nvSpPr>
          <p:cNvPr id="7" name="Rectangle 22">
            <a:extLst>
              <a:ext uri="{FF2B5EF4-FFF2-40B4-BE49-F238E27FC236}">
                <a16:creationId xmlns:a16="http://schemas.microsoft.com/office/drawing/2014/main" id="{DF37B648-4FD6-46B5-9B26-1BA6246820B9}"/>
              </a:ext>
            </a:extLst>
          </p:cNvPr>
          <p:cNvSpPr/>
          <p:nvPr/>
        </p:nvSpPr>
        <p:spPr>
          <a:xfrm>
            <a:off x="426723" y="5810189"/>
            <a:ext cx="3293019" cy="400114"/>
          </a:xfrm>
          <a:prstGeom prst="rect">
            <a:avLst/>
          </a:prstGeom>
          <a:noFill/>
          <a:ln>
            <a:noFill/>
            <a:prstDash val="solid"/>
          </a:ln>
        </p:spPr>
        <p:txBody>
          <a:bodyPr vert="horz" wrap="square" lIns="0" tIns="0" rIns="0" bIns="0" anchor="b" anchorCtr="0" compatLnSpc="1">
            <a:spAutoFit/>
          </a:bodyPr>
          <a:lstStyle/>
          <a:p>
            <a:pPr marL="0" marR="0" lvl="0" indent="0" algn="l" defTabSz="914400" rtl="0" fontAlgn="auto" hangingPunct="1">
              <a:lnSpc>
                <a:spcPct val="100000"/>
              </a:lnSpc>
              <a:spcBef>
                <a:spcPts val="0"/>
              </a:spcBef>
              <a:spcAft>
                <a:spcPts val="600"/>
              </a:spcAft>
              <a:buNone/>
              <a:tabLst/>
              <a:defRPr sz="1800" b="0" i="0" u="none" strike="noStrike" kern="0" cap="none" spc="0" baseline="0">
                <a:solidFill>
                  <a:srgbClr val="000000"/>
                </a:solidFill>
                <a:uFillTx/>
              </a:defRPr>
            </a:pPr>
            <a:r>
              <a:rPr lang="en-US" sz="700" b="0" i="0" u="none" strike="noStrike" kern="1200" cap="none" spc="0" baseline="0">
                <a:solidFill>
                  <a:srgbClr val="FFFFFF"/>
                </a:solidFill>
                <a:uFillTx/>
                <a:latin typeface="Ubuntu" pitchFamily="34"/>
                <a:cs typeface="Arial"/>
              </a:rPr>
              <a:t>This presentation contains information that may be privileged or confidential and is the property of the Capgemini Group.</a:t>
            </a:r>
          </a:p>
          <a:p>
            <a:pPr marL="0" marR="0" lvl="0" indent="0" algn="l" defTabSz="914400" rtl="0" fontAlgn="auto" hangingPunct="1">
              <a:lnSpc>
                <a:spcPct val="100000"/>
              </a:lnSpc>
              <a:spcBef>
                <a:spcPts val="0"/>
              </a:spcBef>
              <a:spcAft>
                <a:spcPts val="600"/>
              </a:spcAft>
              <a:buNone/>
              <a:tabLst/>
              <a:defRPr sz="1800" b="0" i="0" u="none" strike="noStrike" kern="0" cap="none" spc="0" baseline="0">
                <a:solidFill>
                  <a:srgbClr val="000000"/>
                </a:solidFill>
                <a:uFillTx/>
              </a:defRPr>
            </a:pPr>
            <a:r>
              <a:rPr lang="en-US" sz="700" b="0" i="0" u="none" strike="noStrike" kern="1200" cap="none" spc="0" baseline="0">
                <a:solidFill>
                  <a:srgbClr val="FFFFFF"/>
                </a:solidFill>
                <a:uFillTx/>
                <a:latin typeface="Ubuntu" pitchFamily="34"/>
                <a:cs typeface="Arial"/>
              </a:rPr>
              <a:t>Copyright © 2021 Capgemini. All rights reserved.</a:t>
            </a:r>
          </a:p>
        </p:txBody>
      </p:sp>
      <p:pic>
        <p:nvPicPr>
          <p:cNvPr id="8" name="Image 27">
            <a:extLst>
              <a:ext uri="{FF2B5EF4-FFF2-40B4-BE49-F238E27FC236}">
                <a16:creationId xmlns:a16="http://schemas.microsoft.com/office/drawing/2014/main" id="{D68FAA69-198A-4F11-B7B9-D9437C7BB2AD}"/>
              </a:ext>
            </a:extLst>
          </p:cNvPr>
          <p:cNvPicPr>
            <a:picLocks noChangeAspect="1"/>
          </p:cNvPicPr>
          <p:nvPr/>
        </p:nvPicPr>
        <p:blipFill>
          <a:blip r:embed="rId12"/>
          <a:stretch>
            <a:fillRect/>
          </a:stretch>
        </p:blipFill>
        <p:spPr>
          <a:xfrm rot="12608383" flipH="1">
            <a:off x="3661093" y="-1184332"/>
            <a:ext cx="10604296" cy="7497659"/>
          </a:xfrm>
          <a:prstGeom prst="rect">
            <a:avLst/>
          </a:prstGeom>
          <a:noFill/>
          <a:ln>
            <a:noFill/>
          </a:ln>
        </p:spPr>
      </p:pic>
      <p:sp>
        <p:nvSpPr>
          <p:cNvPr id="9" name="Rectangle 13">
            <a:extLst>
              <a:ext uri="{FF2B5EF4-FFF2-40B4-BE49-F238E27FC236}">
                <a16:creationId xmlns:a16="http://schemas.microsoft.com/office/drawing/2014/main" id="{EEDF30C6-0ABA-4CE7-9A92-E40811FB73C9}"/>
              </a:ext>
            </a:extLst>
          </p:cNvPr>
          <p:cNvSpPr/>
          <p:nvPr/>
        </p:nvSpPr>
        <p:spPr>
          <a:xfrm>
            <a:off x="6536186" y="3318394"/>
            <a:ext cx="4638211" cy="1493626"/>
          </a:xfrm>
          <a:prstGeom prst="rect">
            <a:avLst/>
          </a:prstGeom>
          <a:noFill/>
          <a:ln>
            <a:noFill/>
            <a:prstDash val="solid"/>
          </a:ln>
        </p:spPr>
        <p:txBody>
          <a:bodyPr vert="horz" wrap="square" lIns="0" tIns="0" rIns="0" bIns="0" anchor="t" anchorCtr="0" compatLnSpc="1">
            <a:noAutofit/>
          </a:bodyPr>
          <a:lstStyle/>
          <a:p>
            <a:pPr marL="0" marR="0" lvl="0" indent="0" algn="just"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FFFFFF"/>
                </a:solidFill>
                <a:uFillTx/>
                <a:latin typeface="Ubuntu" pitchFamily="34"/>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9.3 billion.</a:t>
            </a:r>
          </a:p>
        </p:txBody>
      </p:sp>
      <p:sp>
        <p:nvSpPr>
          <p:cNvPr id="10" name="Rectangle 14">
            <a:extLst>
              <a:ext uri="{FF2B5EF4-FFF2-40B4-BE49-F238E27FC236}">
                <a16:creationId xmlns:a16="http://schemas.microsoft.com/office/drawing/2014/main" id="{0DD810E9-984A-46FA-B16E-3EC2E408A903}"/>
              </a:ext>
            </a:extLst>
          </p:cNvPr>
          <p:cNvSpPr/>
          <p:nvPr/>
        </p:nvSpPr>
        <p:spPr>
          <a:xfrm>
            <a:off x="6536186" y="2939128"/>
            <a:ext cx="2219962" cy="229614"/>
          </a:xfrm>
          <a:prstGeom prst="rect">
            <a:avLst/>
          </a:prstGeom>
          <a:noFill/>
          <a:ln>
            <a:noFill/>
            <a:prstDash val="solid"/>
          </a:ln>
        </p:spPr>
        <p:txBody>
          <a:bodyPr vert="horz" wrap="square" lIns="0" tIns="0" rIns="0" bIns="0" anchor="t" anchorCtr="0" compatLnSpc="1">
            <a:spAutoFit/>
          </a:bodyPr>
          <a:lstStyle/>
          <a:p>
            <a:pPr marL="0" marR="0" lvl="0" indent="0" algn="l" defTabSz="914400" rtl="0" fontAlgn="auto" hangingPunct="1">
              <a:lnSpc>
                <a:spcPts val="2000"/>
              </a:lnSpc>
              <a:spcBef>
                <a:spcPts val="0"/>
              </a:spcBef>
              <a:spcAft>
                <a:spcPts val="0"/>
              </a:spcAft>
              <a:buNone/>
              <a:tabLst/>
              <a:defRPr sz="1800" b="0" i="0" u="none" strike="noStrike" kern="0" cap="none" spc="0" baseline="0">
                <a:solidFill>
                  <a:srgbClr val="000000"/>
                </a:solidFill>
                <a:uFillTx/>
              </a:defRPr>
            </a:pPr>
            <a:r>
              <a:rPr lang="en-US" sz="1400" b="0" i="0" u="none" strike="noStrike" kern="1200" cap="none" spc="0" baseline="0">
                <a:solidFill>
                  <a:srgbClr val="FFFFFF"/>
                </a:solidFill>
                <a:uFillTx/>
                <a:latin typeface="Ubuntu" pitchFamily="34"/>
              </a:rPr>
              <a:t>About Capgemini</a:t>
            </a:r>
          </a:p>
        </p:txBody>
      </p:sp>
      <p:sp>
        <p:nvSpPr>
          <p:cNvPr id="11" name="Rectangle 15">
            <a:extLst>
              <a:ext uri="{FF2B5EF4-FFF2-40B4-BE49-F238E27FC236}">
                <a16:creationId xmlns:a16="http://schemas.microsoft.com/office/drawing/2014/main" id="{239A89E7-6449-4088-BFEE-E46C38FCC7E5}"/>
              </a:ext>
            </a:extLst>
          </p:cNvPr>
          <p:cNvSpPr/>
          <p:nvPr/>
        </p:nvSpPr>
        <p:spPr>
          <a:xfrm>
            <a:off x="6536186" y="4893914"/>
            <a:ext cx="4345173" cy="407292"/>
          </a:xfrm>
          <a:prstGeom prst="rect">
            <a:avLst/>
          </a:prstGeom>
          <a:noFill/>
          <a:ln>
            <a:noFill/>
            <a:prstDash val="solid"/>
          </a:ln>
        </p:spPr>
        <p:txBody>
          <a:bodyPr vert="horz" wrap="square" lIns="0" tIns="0" rIns="0" bIns="0" anchor="t" anchorCtr="0" compatLnSpc="1">
            <a:noAutofit/>
          </a:bodyPr>
          <a:lstStyle/>
          <a:p>
            <a:pPr marL="0" marR="0" lvl="0" indent="0" algn="l" defTabSz="914400" rtl="0" fontAlgn="auto" hangingPunct="1">
              <a:lnSpc>
                <a:spcPts val="1200"/>
              </a:lnSpc>
              <a:spcBef>
                <a:spcPts val="0"/>
              </a:spcBef>
              <a:spcAft>
                <a:spcPts val="0"/>
              </a:spcAft>
              <a:buNone/>
              <a:tabLst/>
              <a:defRPr sz="1800" b="0" i="0" u="none" strike="noStrike" kern="0" cap="none" spc="0" baseline="0">
                <a:solidFill>
                  <a:srgbClr val="000000"/>
                </a:solidFill>
                <a:uFillTx/>
              </a:defRPr>
            </a:pPr>
            <a:r>
              <a:rPr lang="en-GB" sz="900" b="0" i="0" u="none" strike="noStrike" kern="1200" cap="none" spc="0" baseline="0">
                <a:solidFill>
                  <a:srgbClr val="FFFFFF"/>
                </a:solidFill>
                <a:uFillTx/>
                <a:latin typeface="Ubuntu" pitchFamily="34"/>
              </a:rPr>
              <a:t>Get the Future You Want </a:t>
            </a:r>
            <a:r>
              <a:rPr lang="en-US" sz="900" b="0" i="0" u="none" strike="noStrike" kern="1200" cap="none" spc="0" baseline="0">
                <a:solidFill>
                  <a:srgbClr val="FFFFFF"/>
                </a:solidFill>
                <a:uFillTx/>
                <a:latin typeface="Ubuntu" pitchFamily="34"/>
              </a:rPr>
              <a:t>|</a:t>
            </a:r>
            <a:r>
              <a:rPr lang="en-GB" sz="900" b="0" i="0" u="none" strike="noStrike" kern="1200" cap="none" spc="0" baseline="0">
                <a:solidFill>
                  <a:srgbClr val="FFFFFF"/>
                </a:solidFill>
                <a:uFillTx/>
                <a:latin typeface="Ubuntu" pitchFamily="34"/>
              </a:rPr>
              <a:t> </a:t>
            </a:r>
            <a:r>
              <a:rPr lang="en-US" sz="1050" b="0" i="0" u="none" strike="noStrike" kern="1200" cap="none" spc="0" baseline="0">
                <a:solidFill>
                  <a:srgbClr val="12ABDB"/>
                </a:solidFill>
                <a:uFillTx/>
                <a:latin typeface="Ubuntu" pitchFamily="34"/>
              </a:rPr>
              <a:t>www.capgemini.com</a:t>
            </a:r>
          </a:p>
        </p:txBody>
      </p:sp>
      <p:pic>
        <p:nvPicPr>
          <p:cNvPr id="12" name="Image 12" descr="Une image contenant texte&#10;&#10;Description générée automatiquement">
            <a:extLst>
              <a:ext uri="{FF2B5EF4-FFF2-40B4-BE49-F238E27FC236}">
                <a16:creationId xmlns:a16="http://schemas.microsoft.com/office/drawing/2014/main" id="{F871814B-1741-42E8-990E-3026182B9BB4}"/>
              </a:ext>
            </a:extLst>
          </p:cNvPr>
          <p:cNvPicPr>
            <a:picLocks noChangeAspect="1"/>
          </p:cNvPicPr>
          <p:nvPr/>
        </p:nvPicPr>
        <p:blipFill>
          <a:blip r:embed="rId13"/>
          <a:stretch>
            <a:fillRect/>
          </a:stretch>
        </p:blipFill>
        <p:spPr>
          <a:xfrm>
            <a:off x="14666" y="622130"/>
            <a:ext cx="3024003" cy="1226173"/>
          </a:xfrm>
          <a:prstGeom prst="rect">
            <a:avLst/>
          </a:prstGeom>
          <a:noFill/>
          <a:ln>
            <a:noFill/>
          </a:ln>
        </p:spPr>
      </p:pic>
    </p:spTree>
    <p:extLst>
      <p:ext uri="{BB962C8B-B14F-4D97-AF65-F5344CB8AC3E}">
        <p14:creationId xmlns:p14="http://schemas.microsoft.com/office/powerpoint/2010/main" val="2957438581"/>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27488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Only Title">
    <p:spTree>
      <p:nvGrpSpPr>
        <p:cNvPr id="1" name=""/>
        <p:cNvGrpSpPr/>
        <p:nvPr/>
      </p:nvGrpSpPr>
      <p:grpSpPr>
        <a:xfrm>
          <a:off x="0" y="0"/>
          <a:ext cx="0" cy="0"/>
          <a:chOff x="0" y="0"/>
          <a:chExt cx="0" cy="0"/>
        </a:xfrm>
      </p:grpSpPr>
      <p:grpSp>
        <p:nvGrpSpPr>
          <p:cNvPr id="2" name="Group 13">
            <a:extLst>
              <a:ext uri="{FF2B5EF4-FFF2-40B4-BE49-F238E27FC236}">
                <a16:creationId xmlns:a16="http://schemas.microsoft.com/office/drawing/2014/main" id="{0752172F-BFEE-48E3-B99B-372C424C2B47}"/>
              </a:ext>
            </a:extLst>
          </p:cNvPr>
          <p:cNvGrpSpPr/>
          <p:nvPr userDrawn="1"/>
        </p:nvGrpSpPr>
        <p:grpSpPr>
          <a:xfrm>
            <a:off x="10094975" y="67056"/>
            <a:ext cx="2004809" cy="325870"/>
            <a:chOff x="7236287" y="231023"/>
            <a:chExt cx="4765962" cy="801983"/>
          </a:xfrm>
        </p:grpSpPr>
        <p:cxnSp>
          <p:nvCxnSpPr>
            <p:cNvPr id="3" name="Straight Connector 15">
              <a:extLst>
                <a:ext uri="{FF2B5EF4-FFF2-40B4-BE49-F238E27FC236}">
                  <a16:creationId xmlns:a16="http://schemas.microsoft.com/office/drawing/2014/main" id="{E6ECB0C4-1F83-4050-B228-8EBD94C465BE}"/>
                </a:ext>
              </a:extLst>
            </p:cNvPr>
            <p:cNvCxnSpPr/>
            <p:nvPr/>
          </p:nvCxnSpPr>
          <p:spPr>
            <a:xfrm>
              <a:off x="8866525" y="373770"/>
              <a:ext cx="0" cy="512667"/>
            </a:xfrm>
            <a:prstGeom prst="straightConnector1">
              <a:avLst/>
            </a:prstGeom>
            <a:noFill/>
            <a:ln w="19046" cap="flat">
              <a:solidFill>
                <a:srgbClr val="BFBFBF"/>
              </a:solidFill>
              <a:prstDash val="solid"/>
              <a:miter/>
            </a:ln>
          </p:spPr>
        </p:cxnSp>
        <p:pic>
          <p:nvPicPr>
            <p:cNvPr id="4" name="Picture 16" descr="Image result for nbcu logo png">
              <a:extLst>
                <a:ext uri="{FF2B5EF4-FFF2-40B4-BE49-F238E27FC236}">
                  <a16:creationId xmlns:a16="http://schemas.microsoft.com/office/drawing/2014/main" id="{40D4B92E-CB13-4FF0-92B2-7A861DD58675}"/>
                </a:ext>
              </a:extLst>
            </p:cNvPr>
            <p:cNvPicPr>
              <a:picLocks noChangeAspect="1"/>
            </p:cNvPicPr>
            <p:nvPr/>
          </p:nvPicPr>
          <p:blipFill>
            <a:blip r:embed="rId2"/>
            <a:srcRect b="39121"/>
            <a:stretch>
              <a:fillRect/>
            </a:stretch>
          </p:blipFill>
          <p:spPr>
            <a:xfrm>
              <a:off x="7236287" y="231023"/>
              <a:ext cx="1201768" cy="720620"/>
            </a:xfrm>
            <a:prstGeom prst="rect">
              <a:avLst/>
            </a:prstGeom>
            <a:noFill/>
            <a:ln>
              <a:noFill/>
            </a:ln>
          </p:spPr>
        </p:pic>
        <p:pic>
          <p:nvPicPr>
            <p:cNvPr id="5" name="Graphic 9">
              <a:extLst>
                <a:ext uri="{FF2B5EF4-FFF2-40B4-BE49-F238E27FC236}">
                  <a16:creationId xmlns:a16="http://schemas.microsoft.com/office/drawing/2014/main" id="{92E11AB6-4FA1-483B-99D2-DD9DA60D6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65679" y="422471"/>
              <a:ext cx="2736570" cy="610535"/>
            </a:xfrm>
            <a:prstGeom prst="rect">
              <a:avLst/>
            </a:prstGeom>
            <a:noFill/>
            <a:ln>
              <a:noFill/>
            </a:ln>
          </p:spPr>
        </p:pic>
      </p:grpSp>
      <p:sp>
        <p:nvSpPr>
          <p:cNvPr id="6" name="Footer Placeholder 1">
            <a:extLst>
              <a:ext uri="{FF2B5EF4-FFF2-40B4-BE49-F238E27FC236}">
                <a16:creationId xmlns:a16="http://schemas.microsoft.com/office/drawing/2014/main" id="{6DD126FF-F590-4E9C-830D-4BC0F2A04E9D}"/>
              </a:ext>
            </a:extLst>
          </p:cNvPr>
          <p:cNvSpPr>
            <a:spLocks noGrp="1"/>
          </p:cNvSpPr>
          <p:nvPr>
            <p:ph type="ftr" sz="quarter" idx="4294967295"/>
          </p:nvPr>
        </p:nvSpPr>
        <p:spPr>
          <a:xfrm>
            <a:off x="3953256" y="6535431"/>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Capgemini Confidential</a:t>
            </a:r>
          </a:p>
        </p:txBody>
      </p:sp>
    </p:spTree>
    <p:extLst>
      <p:ext uri="{BB962C8B-B14F-4D97-AF65-F5344CB8AC3E}">
        <p14:creationId xmlns:p14="http://schemas.microsoft.com/office/powerpoint/2010/main" val="3090892008"/>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97D17-B213-46F9-A682-98F36084B0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4CFCE9-1158-4119-A9B9-76013D25325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1FB66-171B-4956-A907-23F5F45BCF02}"/>
              </a:ext>
            </a:extLst>
          </p:cNvPr>
          <p:cNvSpPr>
            <a:spLocks noGrp="1"/>
          </p:cNvSpPr>
          <p:nvPr>
            <p:ph type="dt" sz="half" idx="10"/>
          </p:nvPr>
        </p:nvSpPr>
        <p:spPr/>
        <p:txBody>
          <a:bodyPr/>
          <a:lstStyle/>
          <a:p>
            <a:fld id="{F637A09D-D6E1-4345-8FB8-9F5CA9F0010D}" type="datetimeFigureOut">
              <a:rPr lang="en-US" smtClean="0"/>
              <a:t>9/5/2022</a:t>
            </a:fld>
            <a:endParaRPr lang="en-US"/>
          </a:p>
        </p:txBody>
      </p:sp>
      <p:sp>
        <p:nvSpPr>
          <p:cNvPr id="5" name="Footer Placeholder 4">
            <a:extLst>
              <a:ext uri="{FF2B5EF4-FFF2-40B4-BE49-F238E27FC236}">
                <a16:creationId xmlns:a16="http://schemas.microsoft.com/office/drawing/2014/main" id="{5DF3B3C8-A287-438B-B4BD-1C07B1BD18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AEDED7-D2B8-40A4-88A1-BF4E6B973569}"/>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21729551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AC364-D43A-4C32-919D-839D588C403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F000469-10D9-4C1E-ADD1-777B10D7532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E373CF4-DEA7-428B-8D95-F6DEDB6AE9FF}"/>
              </a:ext>
            </a:extLst>
          </p:cNvPr>
          <p:cNvSpPr>
            <a:spLocks noGrp="1"/>
          </p:cNvSpPr>
          <p:nvPr>
            <p:ph type="dt" sz="half" idx="10"/>
          </p:nvPr>
        </p:nvSpPr>
        <p:spPr/>
        <p:txBody>
          <a:bodyPr/>
          <a:lstStyle/>
          <a:p>
            <a:fld id="{F637A09D-D6E1-4345-8FB8-9F5CA9F0010D}" type="datetimeFigureOut">
              <a:rPr lang="en-US" smtClean="0"/>
              <a:t>9/5/2022</a:t>
            </a:fld>
            <a:endParaRPr lang="en-US"/>
          </a:p>
        </p:txBody>
      </p:sp>
      <p:sp>
        <p:nvSpPr>
          <p:cNvPr id="5" name="Footer Placeholder 4">
            <a:extLst>
              <a:ext uri="{FF2B5EF4-FFF2-40B4-BE49-F238E27FC236}">
                <a16:creationId xmlns:a16="http://schemas.microsoft.com/office/drawing/2014/main" id="{EEE59E11-8EE1-42BF-9419-ADC2EA72DA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8BB9D4-D10C-4C5C-A6E6-FF516F540C94}"/>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42101798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83E52-5657-43FA-AD52-6C36F71A88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8CD8C9F-4A4F-4B0A-B60F-1F3FA8F2097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F6258F2-126F-4507-92E3-7285D147F34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2881940-74AF-47E3-AA4D-A87CF7C7946E}"/>
              </a:ext>
            </a:extLst>
          </p:cNvPr>
          <p:cNvSpPr>
            <a:spLocks noGrp="1"/>
          </p:cNvSpPr>
          <p:nvPr>
            <p:ph type="dt" sz="half" idx="10"/>
          </p:nvPr>
        </p:nvSpPr>
        <p:spPr/>
        <p:txBody>
          <a:bodyPr/>
          <a:lstStyle/>
          <a:p>
            <a:fld id="{F637A09D-D6E1-4345-8FB8-9F5CA9F0010D}" type="datetimeFigureOut">
              <a:rPr lang="en-US" smtClean="0"/>
              <a:t>9/5/2022</a:t>
            </a:fld>
            <a:endParaRPr lang="en-US"/>
          </a:p>
        </p:txBody>
      </p:sp>
      <p:sp>
        <p:nvSpPr>
          <p:cNvPr id="6" name="Footer Placeholder 5">
            <a:extLst>
              <a:ext uri="{FF2B5EF4-FFF2-40B4-BE49-F238E27FC236}">
                <a16:creationId xmlns:a16="http://schemas.microsoft.com/office/drawing/2014/main" id="{E57A7121-0E0E-459A-8798-44855D42E8D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ED4B90-E93C-4B43-B673-AAFCFB6319ED}"/>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22416120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D3C9D-4160-42F6-B312-2EB0A35480C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B247047-72B4-4390-B7EC-619F7CC4AB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F141E7F-A8F4-421E-9582-40A5969868B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601DED-BEA6-43CD-A67D-C5513488E92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93F0D6F-3BB7-4044-9D20-ABB3979FBF7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BF93A7C-C923-406C-BA4D-54A9D240B7C0}"/>
              </a:ext>
            </a:extLst>
          </p:cNvPr>
          <p:cNvSpPr>
            <a:spLocks noGrp="1"/>
          </p:cNvSpPr>
          <p:nvPr>
            <p:ph type="dt" sz="half" idx="10"/>
          </p:nvPr>
        </p:nvSpPr>
        <p:spPr/>
        <p:txBody>
          <a:bodyPr/>
          <a:lstStyle/>
          <a:p>
            <a:fld id="{F637A09D-D6E1-4345-8FB8-9F5CA9F0010D}" type="datetimeFigureOut">
              <a:rPr lang="en-US" smtClean="0"/>
              <a:t>9/5/2022</a:t>
            </a:fld>
            <a:endParaRPr lang="en-US"/>
          </a:p>
        </p:txBody>
      </p:sp>
      <p:sp>
        <p:nvSpPr>
          <p:cNvPr id="8" name="Footer Placeholder 7">
            <a:extLst>
              <a:ext uri="{FF2B5EF4-FFF2-40B4-BE49-F238E27FC236}">
                <a16:creationId xmlns:a16="http://schemas.microsoft.com/office/drawing/2014/main" id="{6D488BA3-12AF-448F-8052-3D85615A80B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B2B8ADC-1655-40E9-B25B-C236885730FA}"/>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24669097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C9E05-ACDD-4D9D-8011-A2F47971F7E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5F3877A-C3C6-4251-AB3F-65B814A88B40}"/>
              </a:ext>
            </a:extLst>
          </p:cNvPr>
          <p:cNvSpPr>
            <a:spLocks noGrp="1"/>
          </p:cNvSpPr>
          <p:nvPr>
            <p:ph type="dt" sz="half" idx="10"/>
          </p:nvPr>
        </p:nvSpPr>
        <p:spPr/>
        <p:txBody>
          <a:bodyPr/>
          <a:lstStyle/>
          <a:p>
            <a:fld id="{F637A09D-D6E1-4345-8FB8-9F5CA9F0010D}" type="datetimeFigureOut">
              <a:rPr lang="en-US" smtClean="0"/>
              <a:t>9/5/2022</a:t>
            </a:fld>
            <a:endParaRPr lang="en-US"/>
          </a:p>
        </p:txBody>
      </p:sp>
      <p:sp>
        <p:nvSpPr>
          <p:cNvPr id="4" name="Footer Placeholder 3">
            <a:extLst>
              <a:ext uri="{FF2B5EF4-FFF2-40B4-BE49-F238E27FC236}">
                <a16:creationId xmlns:a16="http://schemas.microsoft.com/office/drawing/2014/main" id="{34E426D3-4CB7-49B0-830E-1E1BA1BF374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1A8D78A-1982-42D1-AF5E-6E9844B17E2E}"/>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704158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02B3CD9-F41D-4E32-A16D-233FFE0A47C6}"/>
              </a:ext>
            </a:extLst>
          </p:cNvPr>
          <p:cNvSpPr>
            <a:spLocks noGrp="1"/>
          </p:cNvSpPr>
          <p:nvPr>
            <p:ph type="dt" sz="half" idx="10"/>
          </p:nvPr>
        </p:nvSpPr>
        <p:spPr/>
        <p:txBody>
          <a:bodyPr/>
          <a:lstStyle/>
          <a:p>
            <a:fld id="{F637A09D-D6E1-4345-8FB8-9F5CA9F0010D}" type="datetimeFigureOut">
              <a:rPr lang="en-US" smtClean="0"/>
              <a:t>9/5/2022</a:t>
            </a:fld>
            <a:endParaRPr lang="en-US"/>
          </a:p>
        </p:txBody>
      </p:sp>
      <p:sp>
        <p:nvSpPr>
          <p:cNvPr id="3" name="Footer Placeholder 2">
            <a:extLst>
              <a:ext uri="{FF2B5EF4-FFF2-40B4-BE49-F238E27FC236}">
                <a16:creationId xmlns:a16="http://schemas.microsoft.com/office/drawing/2014/main" id="{7D84663D-5C76-45C7-AE55-52EC22E34DA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B2864FD-AD2A-452C-8EAE-41AD08F2B816}"/>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1374184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7A55D-E8ED-4529-9E6E-A147968C0FF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FE15915-E419-49DA-9DB7-6CEF7054167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EF4B136-1564-4306-8178-75B562A20B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2D76EC9-97B6-458A-8534-3E3E5D962D46}"/>
              </a:ext>
            </a:extLst>
          </p:cNvPr>
          <p:cNvSpPr>
            <a:spLocks noGrp="1"/>
          </p:cNvSpPr>
          <p:nvPr>
            <p:ph type="dt" sz="half" idx="10"/>
          </p:nvPr>
        </p:nvSpPr>
        <p:spPr/>
        <p:txBody>
          <a:bodyPr/>
          <a:lstStyle/>
          <a:p>
            <a:fld id="{F637A09D-D6E1-4345-8FB8-9F5CA9F0010D}" type="datetimeFigureOut">
              <a:rPr lang="en-US" smtClean="0"/>
              <a:t>9/5/2022</a:t>
            </a:fld>
            <a:endParaRPr lang="en-US"/>
          </a:p>
        </p:txBody>
      </p:sp>
      <p:sp>
        <p:nvSpPr>
          <p:cNvPr id="6" name="Footer Placeholder 5">
            <a:extLst>
              <a:ext uri="{FF2B5EF4-FFF2-40B4-BE49-F238E27FC236}">
                <a16:creationId xmlns:a16="http://schemas.microsoft.com/office/drawing/2014/main" id="{6249198B-12E6-45C4-A452-11A5CDB57DC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92DA33-348E-423D-8B10-C79D0CE9C4C3}"/>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39232458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B8D6E-733A-4A34-9D56-9D9E771381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012AA44-54DF-4A75-82FD-7ED6D6EAC95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3AF89F4-6F3A-4633-BC58-4A4809EA22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ED146FA-8BE0-461D-AD69-D7480B5EB83B}"/>
              </a:ext>
            </a:extLst>
          </p:cNvPr>
          <p:cNvSpPr>
            <a:spLocks noGrp="1"/>
          </p:cNvSpPr>
          <p:nvPr>
            <p:ph type="dt" sz="half" idx="10"/>
          </p:nvPr>
        </p:nvSpPr>
        <p:spPr/>
        <p:txBody>
          <a:bodyPr/>
          <a:lstStyle/>
          <a:p>
            <a:fld id="{F637A09D-D6E1-4345-8FB8-9F5CA9F0010D}" type="datetimeFigureOut">
              <a:rPr lang="en-US" smtClean="0"/>
              <a:t>9/5/2022</a:t>
            </a:fld>
            <a:endParaRPr lang="en-US"/>
          </a:p>
        </p:txBody>
      </p:sp>
      <p:sp>
        <p:nvSpPr>
          <p:cNvPr id="6" name="Footer Placeholder 5">
            <a:extLst>
              <a:ext uri="{FF2B5EF4-FFF2-40B4-BE49-F238E27FC236}">
                <a16:creationId xmlns:a16="http://schemas.microsoft.com/office/drawing/2014/main" id="{431D5E8E-FBDB-4E67-BE87-3A58A6B529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63DD1A-12CF-441D-92DA-F822E73D83D8}"/>
              </a:ext>
            </a:extLst>
          </p:cNvPr>
          <p:cNvSpPr>
            <a:spLocks noGrp="1"/>
          </p:cNvSpPr>
          <p:nvPr>
            <p:ph type="sldNum" sz="quarter" idx="12"/>
          </p:nvPr>
        </p:nvSpPr>
        <p:spPr/>
        <p:txBody>
          <a:bodyPr/>
          <a:lstStyle/>
          <a:p>
            <a:fld id="{F08AF489-9BB8-4FAF-A117-024BE6911952}" type="slidenum">
              <a:rPr lang="en-US" smtClean="0"/>
              <a:t>‹#›</a:t>
            </a:fld>
            <a:endParaRPr lang="en-US"/>
          </a:p>
        </p:txBody>
      </p:sp>
    </p:spTree>
    <p:extLst>
      <p:ext uri="{BB962C8B-B14F-4D97-AF65-F5344CB8AC3E}">
        <p14:creationId xmlns:p14="http://schemas.microsoft.com/office/powerpoint/2010/main" val="7867858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8FE165-8B8F-4BAB-A7C2-CE3E1C077A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2E21EC-E992-481C-A95B-AC206D453A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951696-9AB8-4FBA-B9F1-481E6EC132C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37A09D-D6E1-4345-8FB8-9F5CA9F0010D}" type="datetimeFigureOut">
              <a:rPr lang="en-US" smtClean="0"/>
              <a:t>9/5/2022</a:t>
            </a:fld>
            <a:endParaRPr lang="en-US"/>
          </a:p>
        </p:txBody>
      </p:sp>
      <p:sp>
        <p:nvSpPr>
          <p:cNvPr id="5" name="Footer Placeholder 4">
            <a:extLst>
              <a:ext uri="{FF2B5EF4-FFF2-40B4-BE49-F238E27FC236}">
                <a16:creationId xmlns:a16="http://schemas.microsoft.com/office/drawing/2014/main" id="{A1C7AD45-7DD6-4CC5-B381-6C2D765C3A9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8896DCA-C043-4CCB-9618-FCCDE5883F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8AF489-9BB8-4FAF-A117-024BE6911952}" type="slidenum">
              <a:rPr lang="en-US" smtClean="0"/>
              <a:t>‹#›</a:t>
            </a:fld>
            <a:endParaRPr lang="en-US"/>
          </a:p>
        </p:txBody>
      </p:sp>
    </p:spTree>
    <p:extLst>
      <p:ext uri="{BB962C8B-B14F-4D97-AF65-F5344CB8AC3E}">
        <p14:creationId xmlns:p14="http://schemas.microsoft.com/office/powerpoint/2010/main" val="5311116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4" r:id="rId14"/>
    <p:sldLayoutId id="2147483665" r:id="rId15"/>
    <p:sldLayoutId id="2147483666"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hyperlink" Target="https://en.wikipedia.org/wiki/NBC_logo" TargetMode="External"/><Relationship Id="rId7" Type="http://schemas.openxmlformats.org/officeDocument/2006/relationships/hyperlink" Target="https://freepngimg.com/png/13035-decorative-line-gold-png-clipart" TargetMode="External"/><Relationship Id="rId2" Type="http://schemas.openxmlformats.org/officeDocument/2006/relationships/image" Target="../media/image13.png"/><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hyperlink" Target="https://es.m.wikipedia.org/wiki/Capgemini" TargetMode="Externa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hyperlink" Target="https://es.m.wikipedia.org/wiki/Capgemini" TargetMode="External"/><Relationship Id="rId5" Type="http://schemas.openxmlformats.org/officeDocument/2006/relationships/image" Target="../media/image14.png"/><Relationship Id="rId4" Type="http://schemas.openxmlformats.org/officeDocument/2006/relationships/hyperlink" Target="https://en.wikipedia.org/wiki/NBC_logo"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en.wikipedia.org/wiki/NBC_logo" TargetMode="External"/><Relationship Id="rId7" Type="http://schemas.openxmlformats.org/officeDocument/2006/relationships/hyperlink" Target="https://freepngimg.com/png/13035-decorative-line-gold-png-clipart" TargetMode="External"/><Relationship Id="rId2" Type="http://schemas.openxmlformats.org/officeDocument/2006/relationships/image" Target="../media/image13.png"/><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hyperlink" Target="https://es.m.wikipedia.org/wiki/Capgemini" TargetMode="Externa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hyperlink" Target="https://en.wikipedia.org/wiki/NBC_logo" TargetMode="External"/><Relationship Id="rId7" Type="http://schemas.openxmlformats.org/officeDocument/2006/relationships/hyperlink" Target="https://freepngimg.com/png/13035-decorative-line-gold-png-clipart" TargetMode="External"/><Relationship Id="rId2" Type="http://schemas.openxmlformats.org/officeDocument/2006/relationships/image" Target="../media/image13.png"/><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hyperlink" Target="https://es.m.wikipedia.org/wiki/Capgemini" TargetMode="Externa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3.png"/><Relationship Id="rId7"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hyperlink" Target="https://es.m.wikipedia.org/wiki/Capgemini" TargetMode="External"/><Relationship Id="rId5" Type="http://schemas.openxmlformats.org/officeDocument/2006/relationships/image" Target="../media/image14.png"/><Relationship Id="rId4" Type="http://schemas.openxmlformats.org/officeDocument/2006/relationships/hyperlink" Target="https://en.wikipedia.org/wiki/NBC_logo"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D67CD28-598D-4566-B213-AA991E29A481}"/>
              </a:ext>
            </a:extLst>
          </p:cNvPr>
          <p:cNvSpPr txBox="1">
            <a:spLocks noGrp="1"/>
          </p:cNvSpPr>
          <p:nvPr>
            <p:ph type="subTitle" sz="quarter" idx="4294967295"/>
          </p:nvPr>
        </p:nvSpPr>
        <p:spPr>
          <a:xfrm>
            <a:off x="404814" y="6021195"/>
            <a:ext cx="11379195" cy="353945"/>
          </a:xfrm>
          <a:prstGeom prst="rect">
            <a:avLst/>
          </a:prstGeom>
          <a:noFill/>
          <a:ln>
            <a:noFill/>
          </a:ln>
        </p:spPr>
        <p:txBody>
          <a:bodyPr vert="horz" wrap="square" lIns="35999" tIns="0" rIns="35999" bIns="45720" anchor="t" anchorCtr="1" compatLnSpc="1">
            <a:spAutoFit/>
          </a:bodyPr>
          <a:lstStyle/>
          <a:p>
            <a:pPr marL="0" lvl="0" indent="0" algn="ctr">
              <a:lnSpc>
                <a:spcPct val="100000"/>
              </a:lnSpc>
              <a:spcBef>
                <a:spcPts val="0"/>
              </a:spcBef>
              <a:spcAft>
                <a:spcPts val="600"/>
              </a:spcAft>
              <a:buNone/>
            </a:pPr>
            <a:r>
              <a:rPr lang="en-GB" sz="2000" i="1" dirty="0">
                <a:solidFill>
                  <a:srgbClr val="FFFFFF"/>
                </a:solidFill>
                <a:latin typeface="Ubuntu" pitchFamily="34"/>
              </a:rPr>
              <a:t>NBCU QE Team</a:t>
            </a:r>
          </a:p>
        </p:txBody>
      </p:sp>
      <p:sp>
        <p:nvSpPr>
          <p:cNvPr id="3" name="Title 2">
            <a:extLst>
              <a:ext uri="{FF2B5EF4-FFF2-40B4-BE49-F238E27FC236}">
                <a16:creationId xmlns:a16="http://schemas.microsoft.com/office/drawing/2014/main" id="{55A25A19-F79A-496F-864F-60E1FC36C1DB}"/>
              </a:ext>
            </a:extLst>
          </p:cNvPr>
          <p:cNvSpPr txBox="1"/>
          <p:nvPr/>
        </p:nvSpPr>
        <p:spPr>
          <a:xfrm>
            <a:off x="1501819" y="1997040"/>
            <a:ext cx="9176342" cy="1824886"/>
          </a:xfrm>
          <a:prstGeom prst="rect">
            <a:avLst/>
          </a:prstGeom>
          <a:noFill/>
          <a:ln>
            <a:noFill/>
          </a:ln>
        </p:spPr>
        <p:txBody>
          <a:bodyPr vert="horz" wrap="square" lIns="0" tIns="0" rIns="0" bIns="0"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GB" sz="3600" b="0" i="0" u="none" strike="noStrike" kern="1200" cap="all" spc="0" baseline="0" dirty="0">
                <a:solidFill>
                  <a:srgbClr val="FFFFFF"/>
                </a:solidFill>
                <a:uFillTx/>
                <a:latin typeface="Ubuntu Medium"/>
              </a:rPr>
              <a:t>Q</a:t>
            </a:r>
            <a:r>
              <a:rPr lang="en-GB" sz="3600" cap="all" dirty="0">
                <a:solidFill>
                  <a:srgbClr val="FFFFFF"/>
                </a:solidFill>
                <a:latin typeface="Ubuntu Medium"/>
              </a:rPr>
              <a:t>UICK AUTOMATION -</a:t>
            </a:r>
          </a:p>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GB" sz="3600" cap="all" dirty="0">
                <a:solidFill>
                  <a:srgbClr val="FFFFFF"/>
                </a:solidFill>
                <a:latin typeface="Ubuntu Medium"/>
              </a:rPr>
              <a:t>A NEW APPROACH WITH KARATE</a:t>
            </a:r>
          </a:p>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GB" sz="3600" b="0" i="0" u="none" strike="noStrike" kern="1200" cap="all" spc="0" baseline="0" dirty="0">
              <a:solidFill>
                <a:srgbClr val="FFFFFF"/>
              </a:solidFill>
              <a:uFillTx/>
              <a:latin typeface="Ubuntu Medium"/>
            </a:endParaRPr>
          </a:p>
          <a:p>
            <a:pPr>
              <a:lnSpc>
                <a:spcPct val="90000"/>
              </a:lnSpc>
              <a:defRPr sz="1800" b="0" i="0" u="none" strike="noStrike" kern="0" cap="none" spc="0" baseline="0">
                <a:solidFill>
                  <a:srgbClr val="000000"/>
                </a:solidFill>
                <a:uFillTx/>
              </a:defRPr>
            </a:pPr>
            <a:r>
              <a:rPr lang="en-GB" sz="2400" i="1" cap="all" dirty="0">
                <a:solidFill>
                  <a:srgbClr val="FFFFFF"/>
                </a:solidFill>
                <a:latin typeface="Ubuntu"/>
              </a:rPr>
              <a:t>SEPTEMBER</a:t>
            </a:r>
            <a:r>
              <a:rPr lang="en-GB" sz="2400" b="0" i="1" u="none" strike="noStrike" kern="1200" cap="all" spc="0" baseline="0" dirty="0">
                <a:solidFill>
                  <a:srgbClr val="FFFFFF"/>
                </a:solidFill>
                <a:uFillTx/>
                <a:latin typeface="Ubuntu"/>
              </a:rPr>
              <a:t> 2022</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raphic 6">
            <a:extLst>
              <a:ext uri="{FF2B5EF4-FFF2-40B4-BE49-F238E27FC236}">
                <a16:creationId xmlns:a16="http://schemas.microsoft.com/office/drawing/2014/main" id="{D5BC1BB6-A475-443E-845B-2DEAEAFE7C96}"/>
              </a:ext>
            </a:extLst>
          </p:cNvPr>
          <p:cNvSpPr/>
          <p:nvPr/>
        </p:nvSpPr>
        <p:spPr>
          <a:xfrm rot="14203601">
            <a:off x="2834725" y="886506"/>
            <a:ext cx="12519516" cy="6871587"/>
          </a:xfrm>
          <a:custGeom>
            <a:avLst/>
            <a:gdLst>
              <a:gd name="f0" fmla="val 10800000"/>
              <a:gd name="f1" fmla="val 5400000"/>
              <a:gd name="f2" fmla="val 180"/>
              <a:gd name="f3" fmla="val w"/>
              <a:gd name="f4" fmla="val h"/>
              <a:gd name="f5" fmla="val 0"/>
              <a:gd name="f6" fmla="val 8112442"/>
              <a:gd name="f7" fmla="val 4061459"/>
              <a:gd name="f8" fmla="val 359093"/>
              <a:gd name="f9" fmla="val 4061460"/>
              <a:gd name="f10" fmla="val 242888"/>
              <a:gd name="f11" fmla="val 122873"/>
              <a:gd name="f12" fmla="val 4057650"/>
              <a:gd name="f13" fmla="val 4050983"/>
              <a:gd name="f14" fmla="val 1905"/>
              <a:gd name="f15" fmla="val 4012883"/>
              <a:gd name="f16" fmla="val 2445068"/>
              <a:gd name="f17" fmla="val 4147185"/>
              <a:gd name="f18" fmla="val 2996565"/>
              <a:gd name="f19" fmla="val 2929890"/>
              <a:gd name="f20" fmla="val 3440430"/>
              <a:gd name="f21" fmla="val 1951673"/>
              <a:gd name="f22" fmla="val 3543300"/>
              <a:gd name="f23" fmla="val 1724978"/>
              <a:gd name="f24" fmla="val 3640455"/>
              <a:gd name="f25" fmla="val 1510665"/>
              <a:gd name="f26" fmla="val 3753803"/>
              <a:gd name="f27" fmla="val 1336358"/>
              <a:gd name="f28" fmla="val 4133850"/>
              <a:gd name="f29" fmla="val 750570"/>
              <a:gd name="f30" fmla="val 4638675"/>
              <a:gd name="f31" fmla="val 501968"/>
              <a:gd name="f32" fmla="val 4995863"/>
              <a:gd name="f33" fmla="val 397193"/>
              <a:gd name="f34" fmla="val 5382578"/>
              <a:gd name="f35" fmla="val 282893"/>
              <a:gd name="f36" fmla="val 5684520"/>
              <a:gd name="f37" fmla="val 307658"/>
              <a:gd name="f38" fmla="val 5687378"/>
              <a:gd name="f39" fmla="val 5698808"/>
              <a:gd name="f40" fmla="val 308610"/>
              <a:gd name="f41" fmla="val 5703570"/>
              <a:gd name="f42" fmla="val 319088"/>
              <a:gd name="f43" fmla="val 5771198"/>
              <a:gd name="f44" fmla="val 465773"/>
              <a:gd name="f45" fmla="val 5980748"/>
              <a:gd name="f46" fmla="val 732473"/>
              <a:gd name="f47" fmla="val 6342698"/>
              <a:gd name="f48" fmla="val 802958"/>
              <a:gd name="f49" fmla="val 6558915"/>
              <a:gd name="f50" fmla="val 845820"/>
              <a:gd name="f51" fmla="val 6800850"/>
              <a:gd name="f52" fmla="val 813435"/>
              <a:gd name="f53" fmla="val 7061835"/>
              <a:gd name="f54" fmla="val 707708"/>
              <a:gd name="f55" fmla="val 7376160"/>
              <a:gd name="f56" fmla="val 579120"/>
              <a:gd name="f57" fmla="val 7721918"/>
              <a:gd name="f58" fmla="val 340995"/>
              <a:gd name="f59" fmla="val 8086725"/>
              <a:gd name="f60" fmla="val 8112443"/>
              <a:gd name="f61" fmla="val 27623"/>
              <a:gd name="f62" fmla="val 7744778"/>
              <a:gd name="f63" fmla="val 372428"/>
              <a:gd name="f64" fmla="val 7395210"/>
              <a:gd name="f65" fmla="val 612458"/>
              <a:gd name="f66" fmla="val 7074218"/>
              <a:gd name="f67" fmla="val 742950"/>
              <a:gd name="f68" fmla="val 6806565"/>
              <a:gd name="f69" fmla="val 851535"/>
              <a:gd name="f70" fmla="val 6557963"/>
              <a:gd name="f71" fmla="val 883920"/>
              <a:gd name="f72" fmla="val 6334125"/>
              <a:gd name="f73" fmla="val 840105"/>
              <a:gd name="f74" fmla="val 5966460"/>
              <a:gd name="f75" fmla="val 767715"/>
              <a:gd name="f76" fmla="val 5748338"/>
              <a:gd name="f77" fmla="val 499110"/>
              <a:gd name="f78" fmla="val 5673090"/>
              <a:gd name="f79" fmla="val 344805"/>
              <a:gd name="f80" fmla="val 5616893"/>
              <a:gd name="f81" fmla="val 341948"/>
              <a:gd name="f82" fmla="val 5344478"/>
              <a:gd name="f83" fmla="val 333375"/>
              <a:gd name="f84" fmla="val 5005388"/>
              <a:gd name="f85" fmla="val 433388"/>
              <a:gd name="f86" fmla="val 4654868"/>
              <a:gd name="f87" fmla="val 537210"/>
              <a:gd name="f88" fmla="val 4159568"/>
              <a:gd name="f89" fmla="val 781050"/>
              <a:gd name="f90" fmla="val 3786188"/>
              <a:gd name="f91" fmla="val 1356360"/>
              <a:gd name="f92" fmla="val 3674745"/>
              <a:gd name="f93" fmla="val 1528763"/>
              <a:gd name="f94" fmla="val 3578543"/>
              <a:gd name="f95" fmla="val 1741170"/>
              <a:gd name="f96" fmla="val 3475673"/>
              <a:gd name="f97" fmla="val 1966913"/>
              <a:gd name="f98" fmla="val 3255645"/>
              <a:gd name="f99" fmla="val 2452688"/>
              <a:gd name="f100" fmla="val 3006090"/>
              <a:gd name="f101" fmla="val 3002280"/>
              <a:gd name="f102" fmla="val 2500313"/>
              <a:gd name="f103" fmla="val 3420428"/>
              <a:gd name="f104" fmla="val 1979295"/>
              <a:gd name="f105" fmla="val 3850958"/>
              <a:gd name="f106" fmla="val 1276350"/>
              <a:gd name="f107" fmla="+- 0 0 -90"/>
              <a:gd name="f108" fmla="*/ f3 1 8112442"/>
              <a:gd name="f109" fmla="*/ f4 1 4061459"/>
              <a:gd name="f110" fmla="val f5"/>
              <a:gd name="f111" fmla="val f6"/>
              <a:gd name="f112" fmla="val f7"/>
              <a:gd name="f113" fmla="*/ f107 f0 1"/>
              <a:gd name="f114" fmla="+- f112 0 f110"/>
              <a:gd name="f115" fmla="+- f111 0 f110"/>
              <a:gd name="f116" fmla="*/ f113 1 f2"/>
              <a:gd name="f117" fmla="*/ f115 1 8112442"/>
              <a:gd name="f118" fmla="*/ f114 1 4061459"/>
              <a:gd name="f119" fmla="*/ 359093 f115 1"/>
              <a:gd name="f120" fmla="*/ 4061460 f114 1"/>
              <a:gd name="f121" fmla="*/ 0 f115 1"/>
              <a:gd name="f122" fmla="*/ 4050983 f114 1"/>
              <a:gd name="f123" fmla="*/ 1905 f115 1"/>
              <a:gd name="f124" fmla="*/ 4012883 f114 1"/>
              <a:gd name="f125" fmla="*/ 3440430 f115 1"/>
              <a:gd name="f126" fmla="*/ 1951673 f114 1"/>
              <a:gd name="f127" fmla="*/ 3753803 f115 1"/>
              <a:gd name="f128" fmla="*/ 1336358 f114 1"/>
              <a:gd name="f129" fmla="*/ 4995863 f115 1"/>
              <a:gd name="f130" fmla="*/ 397193 f114 1"/>
              <a:gd name="f131" fmla="*/ 5687378 f115 1"/>
              <a:gd name="f132" fmla="*/ 307658 f114 1"/>
              <a:gd name="f133" fmla="*/ 5698808 f115 1"/>
              <a:gd name="f134" fmla="*/ 308610 f114 1"/>
              <a:gd name="f135" fmla="*/ 5703570 f115 1"/>
              <a:gd name="f136" fmla="*/ 319088 f114 1"/>
              <a:gd name="f137" fmla="*/ 6342698 f115 1"/>
              <a:gd name="f138" fmla="*/ 802958 f114 1"/>
              <a:gd name="f139" fmla="*/ 7061835 f115 1"/>
              <a:gd name="f140" fmla="*/ 707708 f114 1"/>
              <a:gd name="f141" fmla="*/ 8086725 f115 1"/>
              <a:gd name="f142" fmla="*/ 0 f114 1"/>
              <a:gd name="f143" fmla="*/ 8112443 f115 1"/>
              <a:gd name="f144" fmla="*/ 27623 f114 1"/>
              <a:gd name="f145" fmla="*/ 7074218 f115 1"/>
              <a:gd name="f146" fmla="*/ 742950 f114 1"/>
              <a:gd name="f147" fmla="*/ 6334125 f115 1"/>
              <a:gd name="f148" fmla="*/ 840105 f114 1"/>
              <a:gd name="f149" fmla="*/ 5673090 f115 1"/>
              <a:gd name="f150" fmla="*/ 344805 f114 1"/>
              <a:gd name="f151" fmla="*/ 5005388 f115 1"/>
              <a:gd name="f152" fmla="*/ 433388 f114 1"/>
              <a:gd name="f153" fmla="*/ 3786188 f115 1"/>
              <a:gd name="f154" fmla="*/ 1356360 f114 1"/>
              <a:gd name="f155" fmla="*/ 3475673 f115 1"/>
              <a:gd name="f156" fmla="*/ 1966913 f114 1"/>
              <a:gd name="f157" fmla="*/ 2500313 f115 1"/>
              <a:gd name="f158" fmla="*/ 3420428 f114 1"/>
              <a:gd name="f159" fmla="+- f116 0 f1"/>
              <a:gd name="f160" fmla="*/ f119 1 8112442"/>
              <a:gd name="f161" fmla="*/ f120 1 4061459"/>
              <a:gd name="f162" fmla="*/ f121 1 8112442"/>
              <a:gd name="f163" fmla="*/ f122 1 4061459"/>
              <a:gd name="f164" fmla="*/ f123 1 8112442"/>
              <a:gd name="f165" fmla="*/ f124 1 4061459"/>
              <a:gd name="f166" fmla="*/ f125 1 8112442"/>
              <a:gd name="f167" fmla="*/ f126 1 4061459"/>
              <a:gd name="f168" fmla="*/ f127 1 8112442"/>
              <a:gd name="f169" fmla="*/ f128 1 4061459"/>
              <a:gd name="f170" fmla="*/ f129 1 8112442"/>
              <a:gd name="f171" fmla="*/ f130 1 4061459"/>
              <a:gd name="f172" fmla="*/ f131 1 8112442"/>
              <a:gd name="f173" fmla="*/ f132 1 4061459"/>
              <a:gd name="f174" fmla="*/ f133 1 8112442"/>
              <a:gd name="f175" fmla="*/ f134 1 4061459"/>
              <a:gd name="f176" fmla="*/ f135 1 8112442"/>
              <a:gd name="f177" fmla="*/ f136 1 4061459"/>
              <a:gd name="f178" fmla="*/ f137 1 8112442"/>
              <a:gd name="f179" fmla="*/ f138 1 4061459"/>
              <a:gd name="f180" fmla="*/ f139 1 8112442"/>
              <a:gd name="f181" fmla="*/ f140 1 4061459"/>
              <a:gd name="f182" fmla="*/ f141 1 8112442"/>
              <a:gd name="f183" fmla="*/ f142 1 4061459"/>
              <a:gd name="f184" fmla="*/ f143 1 8112442"/>
              <a:gd name="f185" fmla="*/ f144 1 4061459"/>
              <a:gd name="f186" fmla="*/ f145 1 8112442"/>
              <a:gd name="f187" fmla="*/ f146 1 4061459"/>
              <a:gd name="f188" fmla="*/ f147 1 8112442"/>
              <a:gd name="f189" fmla="*/ f148 1 4061459"/>
              <a:gd name="f190" fmla="*/ f149 1 8112442"/>
              <a:gd name="f191" fmla="*/ f150 1 4061459"/>
              <a:gd name="f192" fmla="*/ f151 1 8112442"/>
              <a:gd name="f193" fmla="*/ f152 1 4061459"/>
              <a:gd name="f194" fmla="*/ f153 1 8112442"/>
              <a:gd name="f195" fmla="*/ f154 1 4061459"/>
              <a:gd name="f196" fmla="*/ f155 1 8112442"/>
              <a:gd name="f197" fmla="*/ f156 1 4061459"/>
              <a:gd name="f198" fmla="*/ f157 1 8112442"/>
              <a:gd name="f199" fmla="*/ f158 1 4061459"/>
              <a:gd name="f200" fmla="*/ f110 1 f117"/>
              <a:gd name="f201" fmla="*/ f111 1 f117"/>
              <a:gd name="f202" fmla="*/ f110 1 f118"/>
              <a:gd name="f203" fmla="*/ f112 1 f118"/>
              <a:gd name="f204" fmla="*/ f160 1 f117"/>
              <a:gd name="f205" fmla="*/ f161 1 f118"/>
              <a:gd name="f206" fmla="*/ f162 1 f117"/>
              <a:gd name="f207" fmla="*/ f163 1 f118"/>
              <a:gd name="f208" fmla="*/ f164 1 f117"/>
              <a:gd name="f209" fmla="*/ f165 1 f118"/>
              <a:gd name="f210" fmla="*/ f166 1 f117"/>
              <a:gd name="f211" fmla="*/ f167 1 f118"/>
              <a:gd name="f212" fmla="*/ f168 1 f117"/>
              <a:gd name="f213" fmla="*/ f169 1 f118"/>
              <a:gd name="f214" fmla="*/ f170 1 f117"/>
              <a:gd name="f215" fmla="*/ f171 1 f118"/>
              <a:gd name="f216" fmla="*/ f172 1 f117"/>
              <a:gd name="f217" fmla="*/ f173 1 f118"/>
              <a:gd name="f218" fmla="*/ f174 1 f117"/>
              <a:gd name="f219" fmla="*/ f175 1 f118"/>
              <a:gd name="f220" fmla="*/ f176 1 f117"/>
              <a:gd name="f221" fmla="*/ f177 1 f118"/>
              <a:gd name="f222" fmla="*/ f178 1 f117"/>
              <a:gd name="f223" fmla="*/ f179 1 f118"/>
              <a:gd name="f224" fmla="*/ f180 1 f117"/>
              <a:gd name="f225" fmla="*/ f181 1 f118"/>
              <a:gd name="f226" fmla="*/ f182 1 f117"/>
              <a:gd name="f227" fmla="*/ f183 1 f118"/>
              <a:gd name="f228" fmla="*/ f184 1 f117"/>
              <a:gd name="f229" fmla="*/ f185 1 f118"/>
              <a:gd name="f230" fmla="*/ f186 1 f117"/>
              <a:gd name="f231" fmla="*/ f187 1 f118"/>
              <a:gd name="f232" fmla="*/ f188 1 f117"/>
              <a:gd name="f233" fmla="*/ f189 1 f118"/>
              <a:gd name="f234" fmla="*/ f190 1 f117"/>
              <a:gd name="f235" fmla="*/ f191 1 f118"/>
              <a:gd name="f236" fmla="*/ f192 1 f117"/>
              <a:gd name="f237" fmla="*/ f193 1 f118"/>
              <a:gd name="f238" fmla="*/ f194 1 f117"/>
              <a:gd name="f239" fmla="*/ f195 1 f118"/>
              <a:gd name="f240" fmla="*/ f196 1 f117"/>
              <a:gd name="f241" fmla="*/ f197 1 f118"/>
              <a:gd name="f242" fmla="*/ f198 1 f117"/>
              <a:gd name="f243" fmla="*/ f199 1 f118"/>
              <a:gd name="f244" fmla="*/ f200 f108 1"/>
              <a:gd name="f245" fmla="*/ f201 f108 1"/>
              <a:gd name="f246" fmla="*/ f203 f109 1"/>
              <a:gd name="f247" fmla="*/ f202 f109 1"/>
              <a:gd name="f248" fmla="*/ f204 f108 1"/>
              <a:gd name="f249" fmla="*/ f205 f109 1"/>
              <a:gd name="f250" fmla="*/ f206 f108 1"/>
              <a:gd name="f251" fmla="*/ f207 f109 1"/>
              <a:gd name="f252" fmla="*/ f208 f108 1"/>
              <a:gd name="f253" fmla="*/ f209 f109 1"/>
              <a:gd name="f254" fmla="*/ f210 f108 1"/>
              <a:gd name="f255" fmla="*/ f211 f109 1"/>
              <a:gd name="f256" fmla="*/ f212 f108 1"/>
              <a:gd name="f257" fmla="*/ f213 f109 1"/>
              <a:gd name="f258" fmla="*/ f214 f108 1"/>
              <a:gd name="f259" fmla="*/ f215 f109 1"/>
              <a:gd name="f260" fmla="*/ f216 f108 1"/>
              <a:gd name="f261" fmla="*/ f217 f109 1"/>
              <a:gd name="f262" fmla="*/ f218 f108 1"/>
              <a:gd name="f263" fmla="*/ f219 f109 1"/>
              <a:gd name="f264" fmla="*/ f220 f108 1"/>
              <a:gd name="f265" fmla="*/ f221 f109 1"/>
              <a:gd name="f266" fmla="*/ f222 f108 1"/>
              <a:gd name="f267" fmla="*/ f223 f109 1"/>
              <a:gd name="f268" fmla="*/ f224 f108 1"/>
              <a:gd name="f269" fmla="*/ f225 f109 1"/>
              <a:gd name="f270" fmla="*/ f226 f108 1"/>
              <a:gd name="f271" fmla="*/ f227 f109 1"/>
              <a:gd name="f272" fmla="*/ f228 f108 1"/>
              <a:gd name="f273" fmla="*/ f229 f109 1"/>
              <a:gd name="f274" fmla="*/ f230 f108 1"/>
              <a:gd name="f275" fmla="*/ f231 f109 1"/>
              <a:gd name="f276" fmla="*/ f232 f108 1"/>
              <a:gd name="f277" fmla="*/ f233 f109 1"/>
              <a:gd name="f278" fmla="*/ f234 f108 1"/>
              <a:gd name="f279" fmla="*/ f235 f109 1"/>
              <a:gd name="f280" fmla="*/ f236 f108 1"/>
              <a:gd name="f281" fmla="*/ f237 f109 1"/>
              <a:gd name="f282" fmla="*/ f238 f108 1"/>
              <a:gd name="f283" fmla="*/ f239 f109 1"/>
              <a:gd name="f284" fmla="*/ f240 f108 1"/>
              <a:gd name="f285" fmla="*/ f241 f109 1"/>
              <a:gd name="f286" fmla="*/ f242 f108 1"/>
              <a:gd name="f287" fmla="*/ f243 f109 1"/>
            </a:gdLst>
            <a:ahLst/>
            <a:cxnLst>
              <a:cxn ang="3cd4">
                <a:pos x="hc" y="t"/>
              </a:cxn>
              <a:cxn ang="0">
                <a:pos x="r" y="vc"/>
              </a:cxn>
              <a:cxn ang="cd4">
                <a:pos x="hc" y="b"/>
              </a:cxn>
              <a:cxn ang="cd2">
                <a:pos x="l" y="vc"/>
              </a:cxn>
              <a:cxn ang="f159">
                <a:pos x="f248" y="f249"/>
              </a:cxn>
              <a:cxn ang="f159">
                <a:pos x="f250" y="f251"/>
              </a:cxn>
              <a:cxn ang="f159">
                <a:pos x="f252" y="f253"/>
              </a:cxn>
              <a:cxn ang="f159">
                <a:pos x="f254" y="f255"/>
              </a:cxn>
              <a:cxn ang="f159">
                <a:pos x="f256" y="f257"/>
              </a:cxn>
              <a:cxn ang="f159">
                <a:pos x="f258" y="f259"/>
              </a:cxn>
              <a:cxn ang="f159">
                <a:pos x="f260" y="f261"/>
              </a:cxn>
              <a:cxn ang="f159">
                <a:pos x="f262" y="f263"/>
              </a:cxn>
              <a:cxn ang="f159">
                <a:pos x="f264" y="f265"/>
              </a:cxn>
              <a:cxn ang="f159">
                <a:pos x="f266" y="f267"/>
              </a:cxn>
              <a:cxn ang="f159">
                <a:pos x="f268" y="f269"/>
              </a:cxn>
              <a:cxn ang="f159">
                <a:pos x="f270" y="f271"/>
              </a:cxn>
              <a:cxn ang="f159">
                <a:pos x="f272" y="f273"/>
              </a:cxn>
              <a:cxn ang="f159">
                <a:pos x="f274" y="f275"/>
              </a:cxn>
              <a:cxn ang="f159">
                <a:pos x="f276" y="f277"/>
              </a:cxn>
              <a:cxn ang="f159">
                <a:pos x="f278" y="f279"/>
              </a:cxn>
              <a:cxn ang="f159">
                <a:pos x="f280" y="f281"/>
              </a:cxn>
              <a:cxn ang="f159">
                <a:pos x="f282" y="f283"/>
              </a:cxn>
              <a:cxn ang="f159">
                <a:pos x="f284" y="f285"/>
              </a:cxn>
              <a:cxn ang="f159">
                <a:pos x="f286" y="f287"/>
              </a:cxn>
              <a:cxn ang="f159">
                <a:pos x="f248" y="f249"/>
              </a:cxn>
            </a:cxnLst>
            <a:rect l="f244" t="f247" r="f245" b="f246"/>
            <a:pathLst>
              <a:path w="8112442" h="4061459">
                <a:moveTo>
                  <a:pt x="f8" y="f9"/>
                </a:moveTo>
                <a:cubicBezTo>
                  <a:pt x="f10" y="f9"/>
                  <a:pt x="f11" y="f12"/>
                  <a:pt x="f5" y="f13"/>
                </a:cubicBezTo>
                <a:lnTo>
                  <a:pt x="f14" y="f15"/>
                </a:lnTo>
                <a:cubicBezTo>
                  <a:pt x="f16" y="f17"/>
                  <a:pt x="f18" y="f19"/>
                  <a:pt x="f20" y="f21"/>
                </a:cubicBezTo>
                <a:cubicBezTo>
                  <a:pt x="f22" y="f23"/>
                  <a:pt x="f24" y="f25"/>
                  <a:pt x="f26" y="f27"/>
                </a:cubicBezTo>
                <a:cubicBezTo>
                  <a:pt x="f28" y="f29"/>
                  <a:pt x="f30" y="f31"/>
                  <a:pt x="f32" y="f33"/>
                </a:cubicBezTo>
                <a:cubicBezTo>
                  <a:pt x="f34" y="f35"/>
                  <a:pt x="f36" y="f37"/>
                  <a:pt x="f38" y="f37"/>
                </a:cubicBezTo>
                <a:lnTo>
                  <a:pt x="f39" y="f40"/>
                </a:lnTo>
                <a:lnTo>
                  <a:pt x="f41" y="f42"/>
                </a:lnTo>
                <a:cubicBezTo>
                  <a:pt x="f43" y="f44"/>
                  <a:pt x="f45" y="f46"/>
                  <a:pt x="f47" y="f48"/>
                </a:cubicBezTo>
                <a:cubicBezTo>
                  <a:pt x="f49" y="f50"/>
                  <a:pt x="f51" y="f52"/>
                  <a:pt x="f53" y="f54"/>
                </a:cubicBezTo>
                <a:cubicBezTo>
                  <a:pt x="f55" y="f56"/>
                  <a:pt x="f57" y="f58"/>
                  <a:pt x="f59" y="f5"/>
                </a:cubicBezTo>
                <a:lnTo>
                  <a:pt x="f60" y="f61"/>
                </a:lnTo>
                <a:cubicBezTo>
                  <a:pt x="f62" y="f63"/>
                  <a:pt x="f64" y="f65"/>
                  <a:pt x="f66" y="f67"/>
                </a:cubicBezTo>
                <a:cubicBezTo>
                  <a:pt x="f68" y="f69"/>
                  <a:pt x="f70" y="f71"/>
                  <a:pt x="f72" y="f73"/>
                </a:cubicBezTo>
                <a:cubicBezTo>
                  <a:pt x="f74" y="f75"/>
                  <a:pt x="f76" y="f77"/>
                  <a:pt x="f78" y="f79"/>
                </a:cubicBezTo>
                <a:cubicBezTo>
                  <a:pt x="f80" y="f81"/>
                  <a:pt x="f82" y="f83"/>
                  <a:pt x="f84" y="f85"/>
                </a:cubicBezTo>
                <a:cubicBezTo>
                  <a:pt x="f86" y="f87"/>
                  <a:pt x="f88" y="f89"/>
                  <a:pt x="f90" y="f91"/>
                </a:cubicBezTo>
                <a:cubicBezTo>
                  <a:pt x="f92" y="f93"/>
                  <a:pt x="f94" y="f95"/>
                  <a:pt x="f96" y="f97"/>
                </a:cubicBezTo>
                <a:cubicBezTo>
                  <a:pt x="f98" y="f99"/>
                  <a:pt x="f100" y="f101"/>
                  <a:pt x="f102" y="f103"/>
                </a:cubicBezTo>
                <a:cubicBezTo>
                  <a:pt x="f104" y="f105"/>
                  <a:pt x="f106" y="f9"/>
                  <a:pt x="f8" y="f9"/>
                </a:cubicBezTo>
                <a:close/>
              </a:path>
            </a:pathLst>
          </a:custGeom>
          <a:gradFill>
            <a:gsLst>
              <a:gs pos="0">
                <a:srgbClr val="12ABDB">
                  <a:alpha val="0"/>
                </a:srgbClr>
              </a:gs>
              <a:gs pos="100000">
                <a:srgbClr val="12ABDB">
                  <a:alpha val="17000"/>
                </a:srgbClr>
              </a:gs>
            </a:gsLst>
            <a:lin ang="540000"/>
          </a:gradFill>
          <a:ln>
            <a:noFill/>
            <a:prstDash val="solid"/>
          </a:ln>
        </p:spPr>
        <p:txBody>
          <a:bodyPr vert="horz" wrap="square" lIns="91440" tIns="45720" rIns="91440" bIns="45720"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a:solidFill>
                <a:srgbClr val="000000"/>
              </a:solidFill>
              <a:uFillTx/>
              <a:latin typeface="Ubuntu"/>
            </a:endParaRPr>
          </a:p>
        </p:txBody>
      </p:sp>
      <p:sp>
        <p:nvSpPr>
          <p:cNvPr id="3" name="Title 7">
            <a:extLst>
              <a:ext uri="{FF2B5EF4-FFF2-40B4-BE49-F238E27FC236}">
                <a16:creationId xmlns:a16="http://schemas.microsoft.com/office/drawing/2014/main" id="{7E4AB22B-4579-4306-AAD1-C1FC1074A5D1}"/>
              </a:ext>
            </a:extLst>
          </p:cNvPr>
          <p:cNvSpPr txBox="1">
            <a:spLocks noGrp="1"/>
          </p:cNvSpPr>
          <p:nvPr>
            <p:ph type="title"/>
          </p:nvPr>
        </p:nvSpPr>
        <p:spPr/>
        <p:txBody>
          <a:bodyPr/>
          <a:lstStyle/>
          <a:p>
            <a:pPr lvl="0"/>
            <a:r>
              <a:rPr lang="en-US" dirty="0"/>
              <a:t>Contents</a:t>
            </a:r>
          </a:p>
        </p:txBody>
      </p:sp>
      <p:sp>
        <p:nvSpPr>
          <p:cNvPr id="5" name="TextBox 10">
            <a:extLst>
              <a:ext uri="{FF2B5EF4-FFF2-40B4-BE49-F238E27FC236}">
                <a16:creationId xmlns:a16="http://schemas.microsoft.com/office/drawing/2014/main" id="{F5BAF06E-BCC4-4022-93D6-C29D7EA6FFA6}"/>
              </a:ext>
            </a:extLst>
          </p:cNvPr>
          <p:cNvSpPr txBox="1"/>
          <p:nvPr/>
        </p:nvSpPr>
        <p:spPr>
          <a:xfrm>
            <a:off x="979166" y="2352165"/>
            <a:ext cx="1731564" cy="400110"/>
          </a:xfrm>
          <a:prstGeom prst="rect">
            <a:avLst/>
          </a:prstGeom>
          <a:noFill/>
          <a:ln>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000" b="0" i="0" u="none" strike="noStrike" kern="1200" cap="none" spc="0" baseline="0" dirty="0">
                <a:solidFill>
                  <a:srgbClr val="FFFFFF"/>
                </a:solidFill>
                <a:uFillTx/>
                <a:latin typeface="Ubuntu Medium"/>
                <a:ea typeface="Verdana"/>
              </a:rPr>
              <a:t>Karate Setup</a:t>
            </a:r>
            <a:endParaRPr lang="en-US" sz="2000" b="0" i="0" u="none" strike="noStrike" kern="1200" cap="none" spc="0" baseline="0" dirty="0">
              <a:solidFill>
                <a:srgbClr val="FFFFFF"/>
              </a:solidFill>
              <a:uFillTx/>
              <a:latin typeface="Ubuntu"/>
            </a:endParaRPr>
          </a:p>
        </p:txBody>
      </p:sp>
      <p:sp>
        <p:nvSpPr>
          <p:cNvPr id="6" name="TextBox 11">
            <a:extLst>
              <a:ext uri="{FF2B5EF4-FFF2-40B4-BE49-F238E27FC236}">
                <a16:creationId xmlns:a16="http://schemas.microsoft.com/office/drawing/2014/main" id="{4FE7B701-4C74-4AC5-9EC9-DF51AC41D792}"/>
              </a:ext>
            </a:extLst>
          </p:cNvPr>
          <p:cNvSpPr txBox="1"/>
          <p:nvPr/>
        </p:nvSpPr>
        <p:spPr>
          <a:xfrm>
            <a:off x="979166" y="3064876"/>
            <a:ext cx="2680542" cy="400110"/>
          </a:xfrm>
          <a:prstGeom prst="rect">
            <a:avLst/>
          </a:prstGeom>
          <a:noFill/>
          <a:ln>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000" dirty="0">
                <a:solidFill>
                  <a:srgbClr val="FFFFFF"/>
                </a:solidFill>
                <a:latin typeface="Ubuntu Medium" panose="020B0604030602030204" pitchFamily="34" charset="0"/>
              </a:rPr>
              <a:t>Karate for API and UI</a:t>
            </a:r>
            <a:endParaRPr lang="en-US" sz="2000" b="0" i="0" u="none" strike="noStrike" kern="1200" cap="none" spc="0" baseline="0" dirty="0">
              <a:solidFill>
                <a:srgbClr val="FFFFFF"/>
              </a:solidFill>
              <a:uFillTx/>
              <a:latin typeface="Ubuntu Medium" panose="020B0604030602030204" pitchFamily="34" charset="0"/>
            </a:endParaRPr>
          </a:p>
        </p:txBody>
      </p:sp>
      <p:sp>
        <p:nvSpPr>
          <p:cNvPr id="10" name="Oval 16">
            <a:extLst>
              <a:ext uri="{FF2B5EF4-FFF2-40B4-BE49-F238E27FC236}">
                <a16:creationId xmlns:a16="http://schemas.microsoft.com/office/drawing/2014/main" id="{036B7679-D4CB-4AC4-867B-ECE39BDD6D38}"/>
              </a:ext>
            </a:extLst>
          </p:cNvPr>
          <p:cNvSpPr/>
          <p:nvPr/>
        </p:nvSpPr>
        <p:spPr>
          <a:xfrm>
            <a:off x="393703" y="1650993"/>
            <a:ext cx="431797" cy="431797"/>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12ABDB"/>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600" b="1" i="0" u="none" strike="noStrike" kern="1200" cap="none" spc="0" baseline="0" dirty="0">
                <a:solidFill>
                  <a:srgbClr val="FFFFFF"/>
                </a:solidFill>
                <a:uFillTx/>
                <a:latin typeface="Ubuntu"/>
              </a:rPr>
              <a:t>1</a:t>
            </a:r>
          </a:p>
        </p:txBody>
      </p:sp>
      <p:sp>
        <p:nvSpPr>
          <p:cNvPr id="11" name="Oval 17">
            <a:extLst>
              <a:ext uri="{FF2B5EF4-FFF2-40B4-BE49-F238E27FC236}">
                <a16:creationId xmlns:a16="http://schemas.microsoft.com/office/drawing/2014/main" id="{B2DA8720-1DE2-47A9-9DA1-B56CE07C88AF}"/>
              </a:ext>
            </a:extLst>
          </p:cNvPr>
          <p:cNvSpPr/>
          <p:nvPr/>
        </p:nvSpPr>
        <p:spPr>
          <a:xfrm>
            <a:off x="393704" y="2355210"/>
            <a:ext cx="431797" cy="431797"/>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12ABDB"/>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600" b="1" i="0" u="none" strike="noStrike" kern="1200" cap="none" spc="0" baseline="0" dirty="0">
                <a:solidFill>
                  <a:srgbClr val="FFFFFF"/>
                </a:solidFill>
                <a:uFillTx/>
                <a:latin typeface="Ubuntu"/>
              </a:rPr>
              <a:t>2</a:t>
            </a:r>
          </a:p>
        </p:txBody>
      </p:sp>
      <p:sp>
        <p:nvSpPr>
          <p:cNvPr id="12" name="Oval 18">
            <a:extLst>
              <a:ext uri="{FF2B5EF4-FFF2-40B4-BE49-F238E27FC236}">
                <a16:creationId xmlns:a16="http://schemas.microsoft.com/office/drawing/2014/main" id="{B830337A-8C36-4645-8DBE-F69F998FB178}"/>
              </a:ext>
            </a:extLst>
          </p:cNvPr>
          <p:cNvSpPr/>
          <p:nvPr/>
        </p:nvSpPr>
        <p:spPr>
          <a:xfrm>
            <a:off x="393704" y="3059426"/>
            <a:ext cx="431797" cy="431797"/>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12ABDB"/>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600" b="1" i="0" u="none" strike="noStrike" kern="1200" cap="none" spc="0" baseline="0" dirty="0">
                <a:solidFill>
                  <a:srgbClr val="FFFFFF"/>
                </a:solidFill>
                <a:uFillTx/>
                <a:latin typeface="Ubuntu"/>
              </a:rPr>
              <a:t>3</a:t>
            </a:r>
          </a:p>
        </p:txBody>
      </p:sp>
      <p:sp>
        <p:nvSpPr>
          <p:cNvPr id="13" name="Oval 19">
            <a:extLst>
              <a:ext uri="{FF2B5EF4-FFF2-40B4-BE49-F238E27FC236}">
                <a16:creationId xmlns:a16="http://schemas.microsoft.com/office/drawing/2014/main" id="{7ED2E015-AE26-465F-95C4-13A46F3DD8AD}"/>
              </a:ext>
            </a:extLst>
          </p:cNvPr>
          <p:cNvSpPr/>
          <p:nvPr/>
        </p:nvSpPr>
        <p:spPr>
          <a:xfrm>
            <a:off x="393704" y="3763642"/>
            <a:ext cx="431797" cy="431797"/>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12ABDB"/>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600" b="1" i="0" u="none" strike="noStrike" kern="1200" cap="none" spc="0" baseline="0" dirty="0">
                <a:solidFill>
                  <a:srgbClr val="FFFFFF"/>
                </a:solidFill>
                <a:uFillTx/>
                <a:latin typeface="Ubuntu"/>
              </a:rPr>
              <a:t>4</a:t>
            </a:r>
          </a:p>
        </p:txBody>
      </p:sp>
      <p:sp>
        <p:nvSpPr>
          <p:cNvPr id="14" name="Oval 20">
            <a:extLst>
              <a:ext uri="{FF2B5EF4-FFF2-40B4-BE49-F238E27FC236}">
                <a16:creationId xmlns:a16="http://schemas.microsoft.com/office/drawing/2014/main" id="{A626F8B7-8884-466D-AF04-EB81BB745A24}"/>
              </a:ext>
            </a:extLst>
          </p:cNvPr>
          <p:cNvSpPr/>
          <p:nvPr/>
        </p:nvSpPr>
        <p:spPr>
          <a:xfrm>
            <a:off x="393704" y="4467858"/>
            <a:ext cx="431797" cy="431797"/>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12ABDB"/>
          </a:solidFill>
          <a:ln>
            <a:noFill/>
            <a:prstDash val="solid"/>
          </a:ln>
        </p:spPr>
        <p:txBody>
          <a:bodyPr vert="horz" wrap="square" lIns="0" tIns="45720" rIns="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600" b="1" i="0" u="none" strike="noStrike" kern="1200" cap="none" spc="0" baseline="0" dirty="0">
                <a:solidFill>
                  <a:srgbClr val="FFFFFF"/>
                </a:solidFill>
                <a:uFillTx/>
                <a:latin typeface="Ubuntu"/>
              </a:rPr>
              <a:t>5</a:t>
            </a:r>
          </a:p>
        </p:txBody>
      </p:sp>
      <p:sp>
        <p:nvSpPr>
          <p:cNvPr id="18" name="TextBox 12">
            <a:extLst>
              <a:ext uri="{FF2B5EF4-FFF2-40B4-BE49-F238E27FC236}">
                <a16:creationId xmlns:a16="http://schemas.microsoft.com/office/drawing/2014/main" id="{39111CD0-18A4-46D1-9C8B-AF1A6160B803}"/>
              </a:ext>
            </a:extLst>
          </p:cNvPr>
          <p:cNvSpPr txBox="1"/>
          <p:nvPr/>
        </p:nvSpPr>
        <p:spPr>
          <a:xfrm>
            <a:off x="979166" y="4467858"/>
            <a:ext cx="1861407" cy="400110"/>
          </a:xfrm>
          <a:prstGeom prst="rect">
            <a:avLst/>
          </a:prstGeom>
          <a:noFill/>
          <a:ln>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000" b="0" i="0" u="none" strike="noStrike" kern="1200" cap="none" spc="0" baseline="0" dirty="0">
                <a:solidFill>
                  <a:srgbClr val="FFFFFF"/>
                </a:solidFill>
                <a:uFillTx/>
                <a:latin typeface="Ubuntu Medium"/>
              </a:rPr>
              <a:t>Pros and Cons</a:t>
            </a:r>
            <a:endParaRPr lang="en-US" sz="2000" b="0" i="0" u="none" strike="noStrike" kern="1200" cap="none" spc="0" baseline="0" dirty="0">
              <a:solidFill>
                <a:srgbClr val="FFFFFF"/>
              </a:solidFill>
              <a:uFillTx/>
              <a:latin typeface="Ubuntu"/>
            </a:endParaRPr>
          </a:p>
        </p:txBody>
      </p:sp>
      <p:sp>
        <p:nvSpPr>
          <p:cNvPr id="19" name="TextBox 13">
            <a:extLst>
              <a:ext uri="{FF2B5EF4-FFF2-40B4-BE49-F238E27FC236}">
                <a16:creationId xmlns:a16="http://schemas.microsoft.com/office/drawing/2014/main" id="{810A712C-8F6B-4F00-B44C-1225F5C8E87B}"/>
              </a:ext>
            </a:extLst>
          </p:cNvPr>
          <p:cNvSpPr txBox="1"/>
          <p:nvPr/>
        </p:nvSpPr>
        <p:spPr>
          <a:xfrm>
            <a:off x="952255" y="3763642"/>
            <a:ext cx="3457998" cy="400110"/>
          </a:xfrm>
          <a:prstGeom prst="rect">
            <a:avLst/>
          </a:prstGeom>
          <a:noFill/>
          <a:ln>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2000" dirty="0">
                <a:solidFill>
                  <a:srgbClr val="FFFFFF"/>
                </a:solidFill>
                <a:latin typeface="Ubuntu Medium"/>
              </a:rPr>
              <a:t>Comparison with Cucumber</a:t>
            </a:r>
            <a:endParaRPr lang="en-US" sz="2000" b="0" i="0" u="none" strike="noStrike" kern="1200" cap="none" spc="0" baseline="0" dirty="0">
              <a:solidFill>
                <a:srgbClr val="FFFFFF"/>
              </a:solidFill>
              <a:uFillTx/>
              <a:latin typeface="Ubuntu Medium"/>
            </a:endParaRPr>
          </a:p>
        </p:txBody>
      </p:sp>
      <p:sp>
        <p:nvSpPr>
          <p:cNvPr id="16" name="TextBox 9">
            <a:extLst>
              <a:ext uri="{FF2B5EF4-FFF2-40B4-BE49-F238E27FC236}">
                <a16:creationId xmlns:a16="http://schemas.microsoft.com/office/drawing/2014/main" id="{A020A7CC-88CF-4A60-A312-07E698930646}"/>
              </a:ext>
            </a:extLst>
          </p:cNvPr>
          <p:cNvSpPr txBox="1"/>
          <p:nvPr/>
        </p:nvSpPr>
        <p:spPr>
          <a:xfrm>
            <a:off x="979166" y="1700764"/>
            <a:ext cx="2855269" cy="369332"/>
          </a:xfrm>
          <a:prstGeom prst="rect">
            <a:avLst/>
          </a:prstGeom>
          <a:noFill/>
          <a:ln>
            <a:noFill/>
          </a:ln>
        </p:spPr>
        <p:txBody>
          <a:bodyPr vert="horz" wrap="none" lIns="91440" tIns="45720" rIns="91440" bIns="45720" anchor="t" anchorCtr="0" compatLnSpc="1">
            <a:spAutoFit/>
          </a:bodyPr>
          <a:lstStyle/>
          <a:p>
            <a:pPr marL="0" marR="0" lvl="0" indent="0" algn="l" defTabSz="533396" rtl="0" fontAlgn="auto" hangingPunct="1">
              <a:lnSpc>
                <a:spcPct val="90000"/>
              </a:lnSpc>
              <a:spcBef>
                <a:spcPts val="0"/>
              </a:spcBef>
              <a:spcAft>
                <a:spcPts val="800"/>
              </a:spcAft>
              <a:buNone/>
              <a:tabLst/>
              <a:defRPr sz="1800" b="0" i="0" u="none" strike="noStrike" kern="0" cap="none" spc="0" baseline="0">
                <a:solidFill>
                  <a:srgbClr val="000000"/>
                </a:solidFill>
                <a:uFillTx/>
              </a:defRPr>
            </a:pPr>
            <a:r>
              <a:rPr lang="en-US" sz="2000" b="0" i="0" u="none" strike="noStrike" kern="1200" cap="none" spc="0" baseline="0" dirty="0">
                <a:solidFill>
                  <a:srgbClr val="FFFFFF"/>
                </a:solidFill>
                <a:uFillTx/>
                <a:latin typeface="Ubuntu Medium"/>
                <a:ea typeface="Verdana"/>
              </a:rPr>
              <a:t>Introduction to Karate</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9EEBC4F6-5F37-4527-91C7-AFBCA9C3E27A}"/>
              </a:ext>
            </a:extLst>
          </p:cNvPr>
          <p:cNvSpPr txBox="1">
            <a:spLocks/>
          </p:cNvSpPr>
          <p:nvPr/>
        </p:nvSpPr>
        <p:spPr>
          <a:xfrm>
            <a:off x="172297" y="-31130"/>
            <a:ext cx="10947397" cy="717547"/>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latin typeface="Ubuntu"/>
              </a:rPr>
              <a:t>Introduction to Karate framework</a:t>
            </a:r>
          </a:p>
        </p:txBody>
      </p:sp>
      <p:pic>
        <p:nvPicPr>
          <p:cNvPr id="7" name="Picture 6" descr="Logo&#10;&#10;Description automatically generated">
            <a:extLst>
              <a:ext uri="{FF2B5EF4-FFF2-40B4-BE49-F238E27FC236}">
                <a16:creationId xmlns:a16="http://schemas.microsoft.com/office/drawing/2014/main" id="{9997324D-CB52-4243-BF3D-E3B319D0773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9251951" y="206581"/>
            <a:ext cx="796824" cy="363428"/>
          </a:xfrm>
          <a:prstGeom prst="rect">
            <a:avLst/>
          </a:prstGeom>
        </p:spPr>
      </p:pic>
      <p:pic>
        <p:nvPicPr>
          <p:cNvPr id="11" name="Picture 10" descr="Logo&#10;&#10;Description automatically generated">
            <a:extLst>
              <a:ext uri="{FF2B5EF4-FFF2-40B4-BE49-F238E27FC236}">
                <a16:creationId xmlns:a16="http://schemas.microsoft.com/office/drawing/2014/main" id="{B8C0E9F1-AEA9-48FD-BAF4-6F234362CD29}"/>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0367734" y="206582"/>
            <a:ext cx="1562100" cy="363427"/>
          </a:xfrm>
          <a:prstGeom prst="rect">
            <a:avLst/>
          </a:prstGeom>
        </p:spPr>
      </p:pic>
      <p:pic>
        <p:nvPicPr>
          <p:cNvPr id="14" name="Picture 13">
            <a:extLst>
              <a:ext uri="{FF2B5EF4-FFF2-40B4-BE49-F238E27FC236}">
                <a16:creationId xmlns:a16="http://schemas.microsoft.com/office/drawing/2014/main" id="{DEBFBA7F-012C-4C06-87F6-AAFEA1D802BE}"/>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rot="16200000">
            <a:off x="9944038" y="-523144"/>
            <a:ext cx="528433" cy="1822878"/>
          </a:xfrm>
          <a:prstGeom prst="rect">
            <a:avLst/>
          </a:prstGeom>
        </p:spPr>
      </p:pic>
      <p:sp>
        <p:nvSpPr>
          <p:cNvPr id="16" name="TextBox 15">
            <a:extLst>
              <a:ext uri="{FF2B5EF4-FFF2-40B4-BE49-F238E27FC236}">
                <a16:creationId xmlns:a16="http://schemas.microsoft.com/office/drawing/2014/main" id="{D85B4034-11F0-4E91-AF0B-DA56E1D4C9A2}"/>
              </a:ext>
            </a:extLst>
          </p:cNvPr>
          <p:cNvSpPr txBox="1"/>
          <p:nvPr/>
        </p:nvSpPr>
        <p:spPr>
          <a:xfrm rot="10800000" flipH="1" flipV="1">
            <a:off x="67812" y="1108794"/>
            <a:ext cx="11796176" cy="5816977"/>
          </a:xfrm>
          <a:prstGeom prst="rect">
            <a:avLst/>
          </a:prstGeom>
          <a:noFill/>
        </p:spPr>
        <p:txBody>
          <a:bodyPr wrap="square" rtlCol="0">
            <a:spAutoFit/>
          </a:bodyPr>
          <a:lstStyle/>
          <a:p>
            <a:pPr marL="285750" indent="-285750">
              <a:buFont typeface="Arial" panose="020B0604020202020204" pitchFamily="34" charset="0"/>
              <a:buChar char="•"/>
            </a:pPr>
            <a:r>
              <a:rPr lang="en-IN" sz="2400" b="0" i="0" dirty="0">
                <a:solidFill>
                  <a:srgbClr val="202124"/>
                </a:solidFill>
                <a:effectLst/>
                <a:cs typeface="Times New Roman" panose="02020603050405020304" pitchFamily="18" charset="0"/>
              </a:rPr>
              <a:t>Karate is </a:t>
            </a:r>
            <a:r>
              <a:rPr lang="en-IN" sz="2400" i="0" dirty="0">
                <a:solidFill>
                  <a:srgbClr val="202124"/>
                </a:solidFill>
                <a:effectLst/>
                <a:cs typeface="Times New Roman" panose="02020603050405020304" pitchFamily="18" charset="0"/>
              </a:rPr>
              <a:t>an open-source framework for API &amp; UI Test automation that uses BDD style syntax, has a rich assertion library, built-in HTML reports</a:t>
            </a:r>
            <a:r>
              <a:rPr lang="en-IN" sz="2400" b="0" i="0" dirty="0">
                <a:solidFill>
                  <a:srgbClr val="202124"/>
                </a:solidFill>
                <a:effectLst/>
                <a:cs typeface="Times New Roman" panose="02020603050405020304" pitchFamily="18" charset="0"/>
              </a:rPr>
              <a:t>.</a:t>
            </a:r>
          </a:p>
          <a:p>
            <a:endParaRPr lang="en-IN" sz="2400" b="0" i="0" dirty="0">
              <a:solidFill>
                <a:srgbClr val="3A3A3A"/>
              </a:solidFill>
              <a:effectLst/>
              <a:cs typeface="Times New Roman" panose="02020603050405020304" pitchFamily="18" charset="0"/>
            </a:endParaRPr>
          </a:p>
          <a:p>
            <a:pPr marL="285750" indent="-285750">
              <a:buFont typeface="Arial" panose="020B0604020202020204" pitchFamily="34" charset="0"/>
              <a:buChar char="•"/>
            </a:pPr>
            <a:r>
              <a:rPr lang="en-IN" sz="2400" b="0" i="0" dirty="0">
                <a:solidFill>
                  <a:srgbClr val="3A3A3A"/>
                </a:solidFill>
                <a:effectLst/>
                <a:cs typeface="Times New Roman" panose="02020603050405020304" pitchFamily="18" charset="0"/>
              </a:rPr>
              <a:t>Karate framework follows the Cucumber style of writing the program which follows the BDD approach. The syntax is easy to understand by non-programmers. And this framework is the only API testing tool that has combined API Automation and performance testing into a single standalone tool.</a:t>
            </a:r>
          </a:p>
          <a:p>
            <a:endParaRPr lang="en-IN" sz="2400" b="0" i="0" dirty="0">
              <a:solidFill>
                <a:srgbClr val="3A3A3A"/>
              </a:solidFill>
              <a:effectLst/>
              <a:cs typeface="Times New Roman" panose="02020603050405020304" pitchFamily="18" charset="0"/>
            </a:endParaRPr>
          </a:p>
          <a:p>
            <a:pPr marL="285750" indent="-285750">
              <a:buFont typeface="Arial" panose="020B0604020202020204" pitchFamily="34" charset="0"/>
              <a:buChar char="•"/>
            </a:pPr>
            <a:r>
              <a:rPr lang="en-IN" sz="2400" b="0" i="0" dirty="0">
                <a:solidFill>
                  <a:srgbClr val="3A3A3A"/>
                </a:solidFill>
                <a:effectLst/>
                <a:cs typeface="Times New Roman" panose="02020603050405020304" pitchFamily="18" charset="0"/>
              </a:rPr>
              <a:t>It is designed to be easy for non-programmers. This feature is a game-changer as it allows for more use and access by many people regardless of their technical background or capacity.</a:t>
            </a:r>
          </a:p>
          <a:p>
            <a:endParaRPr lang="en-IN" sz="2400" b="0" i="0" dirty="0">
              <a:solidFill>
                <a:srgbClr val="3A3A3A"/>
              </a:solidFill>
              <a:effectLst/>
              <a:cs typeface="Times New Roman" panose="02020603050405020304" pitchFamily="18" charset="0"/>
            </a:endParaRPr>
          </a:p>
          <a:p>
            <a:pPr marL="285750" indent="-285750">
              <a:buFont typeface="Arial" panose="020B0604020202020204" pitchFamily="34" charset="0"/>
              <a:buChar char="•"/>
            </a:pPr>
            <a:r>
              <a:rPr lang="en-IN" sz="2400" b="0" i="0" dirty="0">
                <a:solidFill>
                  <a:srgbClr val="3A3A3A"/>
                </a:solidFill>
                <a:effectLst/>
                <a:cs typeface="Times New Roman" panose="02020603050405020304" pitchFamily="18" charset="0"/>
              </a:rPr>
              <a:t>It makes use of the Cucumber feature file and the Gherkins language to write the test which is very easy to understand.</a:t>
            </a:r>
          </a:p>
          <a:p>
            <a:endParaRPr lang="en-IN" b="0" i="0" dirty="0">
              <a:solidFill>
                <a:srgbClr val="3A3A3A"/>
              </a:solidFill>
              <a:effectLst/>
              <a:latin typeface="Work Sans" panose="020B0604020202020204" pitchFamily="2" charset="0"/>
            </a:endParaRPr>
          </a:p>
          <a:p>
            <a:pPr marL="285750" indent="-285750">
              <a:buFont typeface="Arial" panose="020B0604020202020204" pitchFamily="34" charset="0"/>
              <a:buChar char="•"/>
            </a:pPr>
            <a:endParaRPr lang="en-IN" dirty="0"/>
          </a:p>
        </p:txBody>
      </p:sp>
    </p:spTree>
    <p:extLst>
      <p:ext uri="{BB962C8B-B14F-4D97-AF65-F5344CB8AC3E}">
        <p14:creationId xmlns:p14="http://schemas.microsoft.com/office/powerpoint/2010/main" val="18347150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A7894C0-436C-88EF-0C77-A6CE3905A8DC}"/>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7" name="TextBox 6">
            <a:extLst>
              <a:ext uri="{FF2B5EF4-FFF2-40B4-BE49-F238E27FC236}">
                <a16:creationId xmlns:a16="http://schemas.microsoft.com/office/drawing/2014/main" id="{B1F70946-F74B-F4E9-DD3E-0C12357C4EE0}"/>
              </a:ext>
            </a:extLst>
          </p:cNvPr>
          <p:cNvSpPr txBox="1"/>
          <p:nvPr/>
        </p:nvSpPr>
        <p:spPr>
          <a:xfrm>
            <a:off x="4764087" y="385127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8" name="Title 2">
            <a:extLst>
              <a:ext uri="{FF2B5EF4-FFF2-40B4-BE49-F238E27FC236}">
                <a16:creationId xmlns:a16="http://schemas.microsoft.com/office/drawing/2014/main" id="{5769791C-1118-4B3E-AF46-ECF72BFA5D85}"/>
              </a:ext>
            </a:extLst>
          </p:cNvPr>
          <p:cNvSpPr txBox="1">
            <a:spLocks/>
          </p:cNvSpPr>
          <p:nvPr/>
        </p:nvSpPr>
        <p:spPr>
          <a:xfrm>
            <a:off x="262166" y="61409"/>
            <a:ext cx="12042322" cy="653772"/>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a:latin typeface="Ubuntu"/>
              </a:rPr>
              <a:t>Karate Setup </a:t>
            </a:r>
            <a:endParaRPr lang="en-GB" sz="2800" dirty="0">
              <a:latin typeface="Ubuntu"/>
            </a:endParaRPr>
          </a:p>
        </p:txBody>
      </p:sp>
      <p:sp>
        <p:nvSpPr>
          <p:cNvPr id="13" name="Subtitle 12">
            <a:extLst>
              <a:ext uri="{FF2B5EF4-FFF2-40B4-BE49-F238E27FC236}">
                <a16:creationId xmlns:a16="http://schemas.microsoft.com/office/drawing/2014/main" id="{75FCF4B2-D39B-4A1C-BBA6-FE24A64C13F8}"/>
              </a:ext>
            </a:extLst>
          </p:cNvPr>
          <p:cNvSpPr>
            <a:spLocks noGrp="1"/>
          </p:cNvSpPr>
          <p:nvPr>
            <p:ph type="subTitle" idx="1"/>
          </p:nvPr>
        </p:nvSpPr>
        <p:spPr>
          <a:xfrm>
            <a:off x="479619" y="764537"/>
            <a:ext cx="11058940" cy="5806662"/>
          </a:xfrm>
        </p:spPr>
        <p:txBody>
          <a:bodyPr/>
          <a:lstStyle/>
          <a:p>
            <a:pPr algn="l"/>
            <a:r>
              <a:rPr lang="en-IN" b="1" i="0" dirty="0">
                <a:solidFill>
                  <a:srgbClr val="3A3A3A"/>
                </a:solidFill>
                <a:effectLst/>
              </a:rPr>
              <a:t>Tools Required For Working With Karate Framework</a:t>
            </a:r>
          </a:p>
          <a:p>
            <a:pPr algn="l"/>
            <a:r>
              <a:rPr lang="en-IN" b="1" i="0" dirty="0">
                <a:solidFill>
                  <a:srgbClr val="FF6600"/>
                </a:solidFill>
                <a:effectLst/>
              </a:rPr>
              <a:t>1) Eclipse</a:t>
            </a:r>
          </a:p>
          <a:p>
            <a:pPr algn="l"/>
            <a:r>
              <a:rPr lang="en-IN" b="0" i="0" dirty="0">
                <a:solidFill>
                  <a:srgbClr val="3A3A3A"/>
                </a:solidFill>
                <a:effectLst/>
              </a:rPr>
              <a:t>We could even use IntelliJ, Visual Studio, and other different editors available in the market.</a:t>
            </a:r>
            <a:endParaRPr lang="en-IN" b="1" dirty="0">
              <a:solidFill>
                <a:srgbClr val="3A3A3A"/>
              </a:solidFill>
            </a:endParaRPr>
          </a:p>
          <a:p>
            <a:pPr algn="l"/>
            <a:r>
              <a:rPr lang="en-IN" b="1" i="0" dirty="0">
                <a:solidFill>
                  <a:srgbClr val="FF6600"/>
                </a:solidFill>
                <a:effectLst/>
              </a:rPr>
              <a:t>2) Build Management Tool</a:t>
            </a:r>
          </a:p>
          <a:p>
            <a:pPr algn="l"/>
            <a:r>
              <a:rPr lang="en-IN" dirty="0">
                <a:solidFill>
                  <a:srgbClr val="3A3A3A"/>
                </a:solidFill>
              </a:rPr>
              <a:t>We could use Maven or any other build management tool.</a:t>
            </a:r>
          </a:p>
          <a:p>
            <a:pPr algn="l"/>
            <a:r>
              <a:rPr lang="en-IN" b="0" i="0" dirty="0">
                <a:solidFill>
                  <a:srgbClr val="3A3A3A"/>
                </a:solidFill>
                <a:effectLst/>
              </a:rPr>
              <a:t>While working in Maven, use Maven dependencies that would help you support Karate Framework.</a:t>
            </a:r>
          </a:p>
          <a:p>
            <a:pPr algn="l"/>
            <a:r>
              <a:rPr lang="en-IN" b="1" i="0" dirty="0">
                <a:solidFill>
                  <a:srgbClr val="3A3A3A"/>
                </a:solidFill>
                <a:effectLst/>
              </a:rPr>
              <a:t>The following dependencies will be used with Maven in pom.xml.</a:t>
            </a:r>
          </a:p>
          <a:p>
            <a:pPr algn="l"/>
            <a:r>
              <a:rPr lang="en-IN" b="0" i="0" dirty="0">
                <a:solidFill>
                  <a:srgbClr val="000000"/>
                </a:solidFill>
                <a:effectLst/>
              </a:rPr>
              <a:t>1. karate-</a:t>
            </a:r>
            <a:r>
              <a:rPr lang="en-IN" b="0" i="0" dirty="0" err="1">
                <a:solidFill>
                  <a:srgbClr val="000000"/>
                </a:solidFill>
                <a:effectLst/>
              </a:rPr>
              <a:t>apache</a:t>
            </a:r>
            <a:endParaRPr lang="en-IN" b="1" dirty="0">
              <a:solidFill>
                <a:srgbClr val="3A3A3A"/>
              </a:solidFill>
            </a:endParaRPr>
          </a:p>
          <a:p>
            <a:pPr algn="l"/>
            <a:r>
              <a:rPr lang="en-IN" b="0" i="0" dirty="0">
                <a:solidFill>
                  <a:srgbClr val="000000"/>
                </a:solidFill>
                <a:effectLst/>
              </a:rPr>
              <a:t>2. karate-</a:t>
            </a:r>
            <a:r>
              <a:rPr lang="en-IN" b="0" i="0" dirty="0" err="1">
                <a:solidFill>
                  <a:srgbClr val="000000"/>
                </a:solidFill>
                <a:effectLst/>
              </a:rPr>
              <a:t>junit</a:t>
            </a:r>
            <a:endParaRPr lang="en-IN" b="0" i="0" dirty="0">
              <a:solidFill>
                <a:srgbClr val="000000"/>
              </a:solidFill>
              <a:effectLst/>
            </a:endParaRPr>
          </a:p>
          <a:p>
            <a:pPr algn="l"/>
            <a:r>
              <a:rPr lang="en-IN" b="0" i="0" dirty="0">
                <a:solidFill>
                  <a:srgbClr val="3A3A3A"/>
                </a:solidFill>
                <a:effectLst/>
              </a:rPr>
              <a:t>The latest versions will be available in the Maven repository.</a:t>
            </a:r>
          </a:p>
          <a:p>
            <a:pPr algn="l"/>
            <a:endParaRPr lang="en-IN" dirty="0">
              <a:solidFill>
                <a:srgbClr val="3A3A3A"/>
              </a:solidFill>
              <a:latin typeface="Work Sans" pitchFamily="2" charset="0"/>
            </a:endParaRPr>
          </a:p>
          <a:p>
            <a:pPr algn="l"/>
            <a:endParaRPr lang="en-IN" b="1" i="0" dirty="0">
              <a:solidFill>
                <a:srgbClr val="3A3A3A"/>
              </a:solidFill>
              <a:effectLst/>
              <a:latin typeface="Work Sans" panose="020B0604020202020204" pitchFamily="2" charset="0"/>
            </a:endParaRPr>
          </a:p>
          <a:p>
            <a:pPr algn="l"/>
            <a:endParaRPr lang="en-IN" dirty="0"/>
          </a:p>
        </p:txBody>
      </p:sp>
      <p:pic>
        <p:nvPicPr>
          <p:cNvPr id="16" name="Picture 15" descr="Logo&#10;&#10;Description automatically generated">
            <a:extLst>
              <a:ext uri="{FF2B5EF4-FFF2-40B4-BE49-F238E27FC236}">
                <a16:creationId xmlns:a16="http://schemas.microsoft.com/office/drawing/2014/main" id="{402F1C66-77A7-46F2-B7C8-FA8569846983}"/>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9251951" y="206581"/>
            <a:ext cx="796824" cy="363428"/>
          </a:xfrm>
          <a:prstGeom prst="rect">
            <a:avLst/>
          </a:prstGeom>
        </p:spPr>
      </p:pic>
      <p:pic>
        <p:nvPicPr>
          <p:cNvPr id="17" name="Picture 16" descr="Logo&#10;&#10;Description automatically generated">
            <a:extLst>
              <a:ext uri="{FF2B5EF4-FFF2-40B4-BE49-F238E27FC236}">
                <a16:creationId xmlns:a16="http://schemas.microsoft.com/office/drawing/2014/main" id="{FC781433-3847-41EA-BFF5-80F1EC2D41AB}"/>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10367734" y="206582"/>
            <a:ext cx="1562100" cy="363427"/>
          </a:xfrm>
          <a:prstGeom prst="rect">
            <a:avLst/>
          </a:prstGeom>
        </p:spPr>
      </p:pic>
      <p:pic>
        <p:nvPicPr>
          <p:cNvPr id="3" name="Picture 2">
            <a:extLst>
              <a:ext uri="{FF2B5EF4-FFF2-40B4-BE49-F238E27FC236}">
                <a16:creationId xmlns:a16="http://schemas.microsoft.com/office/drawing/2014/main" id="{3016BD72-9CA3-4054-91B0-DAB8082A44B3}"/>
              </a:ext>
            </a:extLst>
          </p:cNvPr>
          <p:cNvPicPr>
            <a:picLocks noChangeAspect="1"/>
          </p:cNvPicPr>
          <p:nvPr/>
        </p:nvPicPr>
        <p:blipFill>
          <a:blip r:embed="rId7"/>
          <a:stretch>
            <a:fillRect/>
          </a:stretch>
        </p:blipFill>
        <p:spPr>
          <a:xfrm>
            <a:off x="9325922" y="123096"/>
            <a:ext cx="1822862" cy="530398"/>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9EEBC4F6-5F37-4527-91C7-AFBCA9C3E27A}"/>
              </a:ext>
            </a:extLst>
          </p:cNvPr>
          <p:cNvSpPr txBox="1">
            <a:spLocks/>
          </p:cNvSpPr>
          <p:nvPr/>
        </p:nvSpPr>
        <p:spPr>
          <a:xfrm>
            <a:off x="201387" y="114553"/>
            <a:ext cx="10947397" cy="717547"/>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latin typeface="Ubuntu"/>
              </a:rPr>
              <a:t>Karate for API</a:t>
            </a:r>
          </a:p>
        </p:txBody>
      </p:sp>
      <p:pic>
        <p:nvPicPr>
          <p:cNvPr id="7" name="Picture 6" descr="Logo&#10;&#10;Description automatically generated">
            <a:extLst>
              <a:ext uri="{FF2B5EF4-FFF2-40B4-BE49-F238E27FC236}">
                <a16:creationId xmlns:a16="http://schemas.microsoft.com/office/drawing/2014/main" id="{9997324D-CB52-4243-BF3D-E3B319D0773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9251951" y="206581"/>
            <a:ext cx="796824" cy="363428"/>
          </a:xfrm>
          <a:prstGeom prst="rect">
            <a:avLst/>
          </a:prstGeom>
        </p:spPr>
      </p:pic>
      <p:pic>
        <p:nvPicPr>
          <p:cNvPr id="11" name="Picture 10" descr="Logo&#10;&#10;Description automatically generated">
            <a:extLst>
              <a:ext uri="{FF2B5EF4-FFF2-40B4-BE49-F238E27FC236}">
                <a16:creationId xmlns:a16="http://schemas.microsoft.com/office/drawing/2014/main" id="{B8C0E9F1-AEA9-48FD-BAF4-6F234362CD29}"/>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0367734" y="206582"/>
            <a:ext cx="1562100" cy="363427"/>
          </a:xfrm>
          <a:prstGeom prst="rect">
            <a:avLst/>
          </a:prstGeom>
        </p:spPr>
      </p:pic>
      <p:pic>
        <p:nvPicPr>
          <p:cNvPr id="14" name="Picture 13">
            <a:extLst>
              <a:ext uri="{FF2B5EF4-FFF2-40B4-BE49-F238E27FC236}">
                <a16:creationId xmlns:a16="http://schemas.microsoft.com/office/drawing/2014/main" id="{DEBFBA7F-012C-4C06-87F6-AAFEA1D802BE}"/>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rot="16200000">
            <a:off x="10016132" y="-486655"/>
            <a:ext cx="528433" cy="1822878"/>
          </a:xfrm>
          <a:prstGeom prst="rect">
            <a:avLst/>
          </a:prstGeom>
        </p:spPr>
      </p:pic>
      <p:sp>
        <p:nvSpPr>
          <p:cNvPr id="16" name="TextBox 15">
            <a:extLst>
              <a:ext uri="{FF2B5EF4-FFF2-40B4-BE49-F238E27FC236}">
                <a16:creationId xmlns:a16="http://schemas.microsoft.com/office/drawing/2014/main" id="{D85B4034-11F0-4E91-AF0B-DA56E1D4C9A2}"/>
              </a:ext>
            </a:extLst>
          </p:cNvPr>
          <p:cNvSpPr txBox="1"/>
          <p:nvPr/>
        </p:nvSpPr>
        <p:spPr>
          <a:xfrm rot="10800000" flipH="1" flipV="1">
            <a:off x="455647" y="924128"/>
            <a:ext cx="10279849" cy="1754326"/>
          </a:xfrm>
          <a:prstGeom prst="rect">
            <a:avLst/>
          </a:prstGeom>
          <a:noFill/>
        </p:spPr>
        <p:txBody>
          <a:bodyPr wrap="square" rtlCol="0">
            <a:spAutoFit/>
          </a:bodyPr>
          <a:lstStyle/>
          <a:p>
            <a:r>
              <a:rPr lang="en-IN" sz="2400" b="0" i="0" dirty="0">
                <a:solidFill>
                  <a:srgbClr val="171717"/>
                </a:solidFill>
                <a:effectLst/>
                <a:latin typeface="-apple-system"/>
              </a:rPr>
              <a:t>Karate is an open-source API test automation tool. API tests are written using Behaviour Driven Development (BDD) Gherkin syntax.</a:t>
            </a:r>
          </a:p>
          <a:p>
            <a:endParaRPr lang="en-IN" sz="2400" dirty="0">
              <a:effectLst/>
              <a:latin typeface="Abadi" panose="020B0604020202020204" pitchFamily="34" charset="0"/>
              <a:cs typeface="Times New Roman" panose="02020603050405020304" pitchFamily="18" charset="0"/>
            </a:endParaRPr>
          </a:p>
          <a:p>
            <a:br>
              <a:rPr lang="en-IN" dirty="0">
                <a:effectLst/>
                <a:latin typeface="Times New Roman" panose="02020603050405020304" pitchFamily="18" charset="0"/>
                <a:cs typeface="Times New Roman" panose="02020603050405020304" pitchFamily="18" charset="0"/>
              </a:rPr>
            </a:br>
            <a:endParaRPr lang="en-IN" dirty="0">
              <a:latin typeface="Times New Roman" panose="02020603050405020304" pitchFamily="18" charset="0"/>
              <a:cs typeface="Times New Roman" panose="02020603050405020304" pitchFamily="18" charset="0"/>
            </a:endParaRPr>
          </a:p>
        </p:txBody>
      </p:sp>
      <p:pic>
        <p:nvPicPr>
          <p:cNvPr id="2050" name="Picture 2" descr="image">
            <a:extLst>
              <a:ext uri="{FF2B5EF4-FFF2-40B4-BE49-F238E27FC236}">
                <a16:creationId xmlns:a16="http://schemas.microsoft.com/office/drawing/2014/main" id="{A7D27048-EF29-4A43-8771-48376E6BC99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474" r="18072" b="3035"/>
          <a:stretch/>
        </p:blipFill>
        <p:spPr bwMode="auto">
          <a:xfrm>
            <a:off x="1054711" y="2109508"/>
            <a:ext cx="8536550" cy="33271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5093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9EEBC4F6-5F37-4527-91C7-AFBCA9C3E27A}"/>
              </a:ext>
            </a:extLst>
          </p:cNvPr>
          <p:cNvSpPr txBox="1">
            <a:spLocks/>
          </p:cNvSpPr>
          <p:nvPr/>
        </p:nvSpPr>
        <p:spPr>
          <a:xfrm>
            <a:off x="201387" y="114553"/>
            <a:ext cx="10947397" cy="717547"/>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latin typeface="Ubuntu"/>
              </a:rPr>
              <a:t>Karate for UI</a:t>
            </a:r>
          </a:p>
        </p:txBody>
      </p:sp>
      <p:pic>
        <p:nvPicPr>
          <p:cNvPr id="7" name="Picture 6" descr="Logo&#10;&#10;Description automatically generated">
            <a:extLst>
              <a:ext uri="{FF2B5EF4-FFF2-40B4-BE49-F238E27FC236}">
                <a16:creationId xmlns:a16="http://schemas.microsoft.com/office/drawing/2014/main" id="{9997324D-CB52-4243-BF3D-E3B319D0773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9251951" y="206581"/>
            <a:ext cx="796824" cy="363428"/>
          </a:xfrm>
          <a:prstGeom prst="rect">
            <a:avLst/>
          </a:prstGeom>
        </p:spPr>
      </p:pic>
      <p:pic>
        <p:nvPicPr>
          <p:cNvPr id="11" name="Picture 10" descr="Logo&#10;&#10;Description automatically generated">
            <a:extLst>
              <a:ext uri="{FF2B5EF4-FFF2-40B4-BE49-F238E27FC236}">
                <a16:creationId xmlns:a16="http://schemas.microsoft.com/office/drawing/2014/main" id="{B8C0E9F1-AEA9-48FD-BAF4-6F234362CD29}"/>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0367734" y="206582"/>
            <a:ext cx="1562100" cy="363427"/>
          </a:xfrm>
          <a:prstGeom prst="rect">
            <a:avLst/>
          </a:prstGeom>
        </p:spPr>
      </p:pic>
      <p:pic>
        <p:nvPicPr>
          <p:cNvPr id="14" name="Picture 13">
            <a:extLst>
              <a:ext uri="{FF2B5EF4-FFF2-40B4-BE49-F238E27FC236}">
                <a16:creationId xmlns:a16="http://schemas.microsoft.com/office/drawing/2014/main" id="{DEBFBA7F-012C-4C06-87F6-AAFEA1D802BE}"/>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rot="16200000">
            <a:off x="10016132" y="-486655"/>
            <a:ext cx="528433" cy="1822878"/>
          </a:xfrm>
          <a:prstGeom prst="rect">
            <a:avLst/>
          </a:prstGeom>
        </p:spPr>
      </p:pic>
      <p:sp>
        <p:nvSpPr>
          <p:cNvPr id="16" name="TextBox 15">
            <a:extLst>
              <a:ext uri="{FF2B5EF4-FFF2-40B4-BE49-F238E27FC236}">
                <a16:creationId xmlns:a16="http://schemas.microsoft.com/office/drawing/2014/main" id="{D85B4034-11F0-4E91-AF0B-DA56E1D4C9A2}"/>
              </a:ext>
            </a:extLst>
          </p:cNvPr>
          <p:cNvSpPr txBox="1"/>
          <p:nvPr/>
        </p:nvSpPr>
        <p:spPr>
          <a:xfrm rot="10800000" flipH="1" flipV="1">
            <a:off x="201387" y="904292"/>
            <a:ext cx="10279849" cy="2739211"/>
          </a:xfrm>
          <a:prstGeom prst="rect">
            <a:avLst/>
          </a:prstGeom>
          <a:noFill/>
        </p:spPr>
        <p:txBody>
          <a:bodyPr wrap="square" rtlCol="0">
            <a:spAutoFit/>
          </a:bodyPr>
          <a:lstStyle/>
          <a:p>
            <a:pPr marL="285750" indent="-285750">
              <a:buFont typeface="Arial" panose="020B0604020202020204" pitchFamily="34" charset="0"/>
              <a:buChar char="•"/>
            </a:pPr>
            <a:r>
              <a:rPr lang="en-IN" sz="2200" dirty="0">
                <a:effectLst/>
                <a:cs typeface="Times New Roman" panose="02020603050405020304" pitchFamily="18" charset="0"/>
              </a:rPr>
              <a:t>A feature file is starting point to the karate test.</a:t>
            </a:r>
          </a:p>
          <a:p>
            <a:pPr marL="285750" indent="-285750">
              <a:buFont typeface="Arial" panose="020B0604020202020204" pitchFamily="34" charset="0"/>
              <a:buChar char="•"/>
            </a:pPr>
            <a:r>
              <a:rPr lang="en-IN" sz="2200" dirty="0">
                <a:cs typeface="Times New Roman" panose="02020603050405020304" pitchFamily="18" charset="0"/>
              </a:rPr>
              <a:t>T</a:t>
            </a:r>
            <a:r>
              <a:rPr lang="en-IN" sz="2200" dirty="0">
                <a:effectLst/>
                <a:cs typeface="Times New Roman" panose="02020603050405020304" pitchFamily="18" charset="0"/>
              </a:rPr>
              <a:t>his is a file where we will describe our tests in Descriptive language</a:t>
            </a:r>
          </a:p>
          <a:p>
            <a:pPr marL="285750" indent="-285750">
              <a:buFont typeface="Arial" panose="020B0604020202020204" pitchFamily="34" charset="0"/>
              <a:buChar char="•"/>
            </a:pPr>
            <a:r>
              <a:rPr lang="en-IN" sz="2200" dirty="0">
                <a:cs typeface="Times New Roman" panose="02020603050405020304" pitchFamily="18" charset="0"/>
              </a:rPr>
              <a:t>S</a:t>
            </a:r>
            <a:r>
              <a:rPr lang="en-IN" sz="2200" dirty="0">
                <a:effectLst/>
                <a:cs typeface="Times New Roman" panose="02020603050405020304" pitchFamily="18" charset="0"/>
              </a:rPr>
              <a:t>imple feature file format:</a:t>
            </a:r>
          </a:p>
          <a:p>
            <a:r>
              <a:rPr lang="en-IN" sz="2200">
                <a:cs typeface="Times New Roman" panose="02020603050405020304" pitchFamily="18" charset="0"/>
              </a:rPr>
              <a:t>      Scenario </a:t>
            </a:r>
            <a:r>
              <a:rPr lang="en-IN" sz="2200" dirty="0">
                <a:cs typeface="Times New Roman" panose="02020603050405020304" pitchFamily="18" charset="0"/>
              </a:rPr>
              <a:t>: sample title of the scenario</a:t>
            </a:r>
          </a:p>
          <a:p>
            <a:r>
              <a:rPr lang="en-IN" sz="2200" dirty="0">
                <a:effectLst/>
                <a:cs typeface="Times New Roman" panose="02020603050405020304" pitchFamily="18" charset="0"/>
              </a:rPr>
              <a:t>      Given : want to write a step with pre condition</a:t>
            </a:r>
          </a:p>
          <a:p>
            <a:r>
              <a:rPr lang="en-IN" sz="2200" dirty="0">
                <a:cs typeface="Times New Roman" panose="02020603050405020304" pitchFamily="18" charset="0"/>
              </a:rPr>
              <a:t>      When : complete action </a:t>
            </a:r>
          </a:p>
          <a:p>
            <a:r>
              <a:rPr lang="en-IN" sz="2200" dirty="0">
                <a:cs typeface="Times New Roman" panose="02020603050405020304" pitchFamily="18" charset="0"/>
              </a:rPr>
              <a:t>      Then : validate the action outcome  </a:t>
            </a:r>
            <a:br>
              <a:rPr lang="en-IN" dirty="0">
                <a:effectLst/>
                <a:latin typeface="Times New Roman" panose="02020603050405020304" pitchFamily="18" charset="0"/>
                <a:cs typeface="Times New Roman" panose="02020603050405020304" pitchFamily="18" charset="0"/>
              </a:rPr>
            </a:br>
            <a:endParaRPr lang="en-IN" dirty="0">
              <a:latin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57879A9B-394D-4D5B-A68F-C23710E6BF82}"/>
              </a:ext>
            </a:extLst>
          </p:cNvPr>
          <p:cNvPicPr>
            <a:picLocks noChangeAspect="1"/>
          </p:cNvPicPr>
          <p:nvPr/>
        </p:nvPicPr>
        <p:blipFill rotWithShape="1">
          <a:blip r:embed="rId8"/>
          <a:srcRect l="18192" t="24198" r="7427" b="36734"/>
          <a:stretch/>
        </p:blipFill>
        <p:spPr>
          <a:xfrm>
            <a:off x="630315" y="3701987"/>
            <a:ext cx="8052903" cy="2645547"/>
          </a:xfrm>
          <a:prstGeom prst="rect">
            <a:avLst/>
          </a:prstGeom>
        </p:spPr>
      </p:pic>
    </p:spTree>
    <p:extLst>
      <p:ext uri="{BB962C8B-B14F-4D97-AF65-F5344CB8AC3E}">
        <p14:creationId xmlns:p14="http://schemas.microsoft.com/office/powerpoint/2010/main" val="5724510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A7894C0-436C-88EF-0C77-A6CE3905A8DC}"/>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7" name="TextBox 6">
            <a:extLst>
              <a:ext uri="{FF2B5EF4-FFF2-40B4-BE49-F238E27FC236}">
                <a16:creationId xmlns:a16="http://schemas.microsoft.com/office/drawing/2014/main" id="{B1F70946-F74B-F4E9-DD3E-0C12357C4EE0}"/>
              </a:ext>
            </a:extLst>
          </p:cNvPr>
          <p:cNvSpPr txBox="1"/>
          <p:nvPr/>
        </p:nvSpPr>
        <p:spPr>
          <a:xfrm>
            <a:off x="4764087" y="385127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8" name="Title 2">
            <a:extLst>
              <a:ext uri="{FF2B5EF4-FFF2-40B4-BE49-F238E27FC236}">
                <a16:creationId xmlns:a16="http://schemas.microsoft.com/office/drawing/2014/main" id="{5769791C-1118-4B3E-AF46-ECF72BFA5D85}"/>
              </a:ext>
            </a:extLst>
          </p:cNvPr>
          <p:cNvSpPr txBox="1">
            <a:spLocks/>
          </p:cNvSpPr>
          <p:nvPr/>
        </p:nvSpPr>
        <p:spPr>
          <a:xfrm>
            <a:off x="149678" y="106185"/>
            <a:ext cx="12042322" cy="653772"/>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latin typeface="Ubuntu"/>
              </a:rPr>
              <a:t>Comparison of Karate with Cucumber Framework  </a:t>
            </a:r>
          </a:p>
        </p:txBody>
      </p:sp>
      <p:sp>
        <p:nvSpPr>
          <p:cNvPr id="13" name="Subtitle 12">
            <a:extLst>
              <a:ext uri="{FF2B5EF4-FFF2-40B4-BE49-F238E27FC236}">
                <a16:creationId xmlns:a16="http://schemas.microsoft.com/office/drawing/2014/main" id="{75FCF4B2-D39B-4A1C-BBA6-FE24A64C13F8}"/>
              </a:ext>
            </a:extLst>
          </p:cNvPr>
          <p:cNvSpPr>
            <a:spLocks noGrp="1"/>
          </p:cNvSpPr>
          <p:nvPr>
            <p:ph idx="1"/>
          </p:nvPr>
        </p:nvSpPr>
        <p:spPr>
          <a:xfrm>
            <a:off x="486900" y="1132919"/>
            <a:ext cx="6172200" cy="4873625"/>
          </a:xfrm>
        </p:spPr>
        <p:txBody>
          <a:bodyPr>
            <a:normAutofit/>
          </a:bodyPr>
          <a:lstStyle/>
          <a:p>
            <a:pPr algn="l">
              <a:buFont typeface="+mj-lt"/>
              <a:buAutoNum type="arabicPeriod"/>
            </a:pPr>
            <a:r>
              <a:rPr lang="en-IN" sz="2400" b="0" i="0" dirty="0">
                <a:solidFill>
                  <a:srgbClr val="242424"/>
                </a:solidFill>
                <a:effectLst/>
                <a:latin typeface="-apple-system"/>
              </a:rPr>
              <a:t> </a:t>
            </a:r>
            <a:r>
              <a:rPr lang="en-IN" sz="2400" b="0" i="0" dirty="0">
                <a:solidFill>
                  <a:srgbClr val="242424"/>
                </a:solidFill>
                <a:effectLst/>
              </a:rPr>
              <a:t>Karate is built on top of cucumber.</a:t>
            </a:r>
          </a:p>
          <a:p>
            <a:pPr algn="l">
              <a:buFont typeface="+mj-lt"/>
              <a:buAutoNum type="arabicPeriod"/>
            </a:pPr>
            <a:r>
              <a:rPr lang="en-IN" sz="2400" b="0" i="0" dirty="0">
                <a:solidFill>
                  <a:srgbClr val="242424"/>
                </a:solidFill>
                <a:effectLst/>
              </a:rPr>
              <a:t>Use of the Gherkin file.</a:t>
            </a:r>
          </a:p>
          <a:p>
            <a:pPr algn="l">
              <a:buFont typeface="+mj-lt"/>
              <a:buAutoNum type="arabicPeriod"/>
            </a:pPr>
            <a:r>
              <a:rPr lang="en-IN" sz="2400" b="0" i="0" dirty="0">
                <a:solidFill>
                  <a:srgbClr val="242424"/>
                </a:solidFill>
                <a:effectLst/>
              </a:rPr>
              <a:t>Understanding by non programmers.</a:t>
            </a:r>
          </a:p>
          <a:p>
            <a:pPr algn="l">
              <a:buFont typeface="+mj-lt"/>
              <a:buAutoNum type="arabicPeriod"/>
            </a:pPr>
            <a:r>
              <a:rPr lang="en-IN" sz="2400" b="0" i="0" dirty="0">
                <a:solidFill>
                  <a:srgbClr val="242424"/>
                </a:solidFill>
                <a:effectLst/>
              </a:rPr>
              <a:t>Karate support both API and UI testing but cucumber support only UI.</a:t>
            </a:r>
          </a:p>
          <a:p>
            <a:pPr algn="l">
              <a:buFont typeface="+mj-lt"/>
              <a:buAutoNum type="arabicPeriod"/>
            </a:pPr>
            <a:r>
              <a:rPr lang="en-IN" sz="2400" b="0" i="0" dirty="0">
                <a:solidFill>
                  <a:srgbClr val="242424"/>
                </a:solidFill>
                <a:effectLst/>
              </a:rPr>
              <a:t>Karate makes no use of java while testing, but cucumber does.</a:t>
            </a:r>
          </a:p>
          <a:p>
            <a:pPr algn="l">
              <a:buFont typeface="+mj-lt"/>
              <a:buAutoNum type="arabicPeriod"/>
            </a:pPr>
            <a:r>
              <a:rPr lang="en-IN" sz="2400" b="0" i="0" dirty="0">
                <a:solidFill>
                  <a:srgbClr val="242424"/>
                </a:solidFill>
                <a:effectLst/>
              </a:rPr>
              <a:t>Karate has only one layer but cucumber has two.</a:t>
            </a:r>
          </a:p>
          <a:p>
            <a:pPr algn="l">
              <a:buFont typeface="+mj-lt"/>
              <a:buAutoNum type="arabicPeriod"/>
            </a:pPr>
            <a:r>
              <a:rPr lang="en-IN" sz="2400" b="0" i="0" dirty="0">
                <a:solidFill>
                  <a:srgbClr val="242424"/>
                </a:solidFill>
                <a:effectLst/>
              </a:rPr>
              <a:t>Parallel execution.</a:t>
            </a:r>
          </a:p>
          <a:p>
            <a:pPr algn="l"/>
            <a:endParaRPr lang="en-IN" dirty="0">
              <a:solidFill>
                <a:srgbClr val="3A3A3A"/>
              </a:solidFill>
              <a:latin typeface="Work Sans" pitchFamily="2" charset="0"/>
            </a:endParaRPr>
          </a:p>
          <a:p>
            <a:pPr algn="l"/>
            <a:endParaRPr lang="en-IN" b="1" i="0" dirty="0">
              <a:solidFill>
                <a:srgbClr val="3A3A3A"/>
              </a:solidFill>
              <a:effectLst/>
              <a:latin typeface="Work Sans" panose="020B0604020202020204" pitchFamily="2" charset="0"/>
            </a:endParaRPr>
          </a:p>
          <a:p>
            <a:pPr algn="l"/>
            <a:endParaRPr lang="en-IN" dirty="0"/>
          </a:p>
        </p:txBody>
      </p:sp>
      <p:pic>
        <p:nvPicPr>
          <p:cNvPr id="16" name="Picture 15" descr="Logo&#10;&#10;Description automatically generated">
            <a:extLst>
              <a:ext uri="{FF2B5EF4-FFF2-40B4-BE49-F238E27FC236}">
                <a16:creationId xmlns:a16="http://schemas.microsoft.com/office/drawing/2014/main" id="{402F1C66-77A7-46F2-B7C8-FA8569846983}"/>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9251951" y="206581"/>
            <a:ext cx="796824" cy="363428"/>
          </a:xfrm>
          <a:prstGeom prst="rect">
            <a:avLst/>
          </a:prstGeom>
        </p:spPr>
      </p:pic>
      <p:pic>
        <p:nvPicPr>
          <p:cNvPr id="17" name="Picture 16" descr="Logo&#10;&#10;Description automatically generated">
            <a:extLst>
              <a:ext uri="{FF2B5EF4-FFF2-40B4-BE49-F238E27FC236}">
                <a16:creationId xmlns:a16="http://schemas.microsoft.com/office/drawing/2014/main" id="{FC781433-3847-41EA-BFF5-80F1EC2D41AB}"/>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10367734" y="206582"/>
            <a:ext cx="1562100" cy="363427"/>
          </a:xfrm>
          <a:prstGeom prst="rect">
            <a:avLst/>
          </a:prstGeom>
        </p:spPr>
      </p:pic>
      <p:pic>
        <p:nvPicPr>
          <p:cNvPr id="2054" name="Picture 6" descr="image">
            <a:extLst>
              <a:ext uri="{FF2B5EF4-FFF2-40B4-BE49-F238E27FC236}">
                <a16:creationId xmlns:a16="http://schemas.microsoft.com/office/drawing/2014/main" id="{37ACD11C-14E5-4023-91F9-DEF38A6C2FE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8218" b="13853"/>
          <a:stretch/>
        </p:blipFill>
        <p:spPr bwMode="auto">
          <a:xfrm>
            <a:off x="6843299" y="1778878"/>
            <a:ext cx="4965246" cy="321237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 name="Picture 2">
            <a:extLst>
              <a:ext uri="{FF2B5EF4-FFF2-40B4-BE49-F238E27FC236}">
                <a16:creationId xmlns:a16="http://schemas.microsoft.com/office/drawing/2014/main" id="{CBF66B9C-A446-44B8-8097-D2EAD038326B}"/>
              </a:ext>
            </a:extLst>
          </p:cNvPr>
          <p:cNvPicPr>
            <a:picLocks noChangeAspect="1"/>
          </p:cNvPicPr>
          <p:nvPr/>
        </p:nvPicPr>
        <p:blipFill>
          <a:blip r:embed="rId8"/>
          <a:stretch>
            <a:fillRect/>
          </a:stretch>
        </p:blipFill>
        <p:spPr>
          <a:xfrm>
            <a:off x="9325922" y="111547"/>
            <a:ext cx="1822862" cy="530398"/>
          </a:xfrm>
          <a:prstGeom prst="rect">
            <a:avLst/>
          </a:prstGeom>
        </p:spPr>
      </p:pic>
    </p:spTree>
    <p:extLst>
      <p:ext uri="{BB962C8B-B14F-4D97-AF65-F5344CB8AC3E}">
        <p14:creationId xmlns:p14="http://schemas.microsoft.com/office/powerpoint/2010/main" val="10784047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608B47EB-4F49-4BEE-90E3-8998289ED021}"/>
              </a:ext>
            </a:extLst>
          </p:cNvPr>
          <p:cNvSpPr txBox="1">
            <a:spLocks/>
          </p:cNvSpPr>
          <p:nvPr/>
        </p:nvSpPr>
        <p:spPr>
          <a:xfrm>
            <a:off x="338652" y="127377"/>
            <a:ext cx="9373519" cy="717547"/>
          </a:xfrm>
          <a:prstGeom prst="rect">
            <a:avLst/>
          </a:prstGeom>
          <a:noFill/>
          <a:ln>
            <a:noFill/>
          </a:ln>
        </p:spPr>
        <p:txBody>
          <a:bodyPr vert="horz" wrap="square" lIns="0" tIns="0" rIns="0" bIns="0" anchor="ctr" anchorCtr="0" compatLnSpc="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dirty="0">
                <a:latin typeface="Ubuntu"/>
              </a:rPr>
              <a:t>PROS and CONS of Karate Framework</a:t>
            </a:r>
          </a:p>
        </p:txBody>
      </p:sp>
      <p:sp>
        <p:nvSpPr>
          <p:cNvPr id="5" name="TextBox 4">
            <a:extLst>
              <a:ext uri="{FF2B5EF4-FFF2-40B4-BE49-F238E27FC236}">
                <a16:creationId xmlns:a16="http://schemas.microsoft.com/office/drawing/2014/main" id="{B01F4C76-11E6-4AAA-8568-ED6DBEADEDE2}"/>
              </a:ext>
            </a:extLst>
          </p:cNvPr>
          <p:cNvSpPr txBox="1"/>
          <p:nvPr/>
        </p:nvSpPr>
        <p:spPr>
          <a:xfrm>
            <a:off x="902999" y="1198485"/>
            <a:ext cx="4909352" cy="3939540"/>
          </a:xfrm>
          <a:prstGeom prst="rect">
            <a:avLst/>
          </a:prstGeom>
          <a:noFill/>
        </p:spPr>
        <p:txBody>
          <a:bodyPr wrap="square" rtlCol="0">
            <a:spAutoFit/>
          </a:bodyPr>
          <a:lstStyle/>
          <a:p>
            <a:r>
              <a:rPr lang="en-IN" sz="2400" dirty="0"/>
              <a:t>PROS</a:t>
            </a:r>
          </a:p>
          <a:p>
            <a:pPr marL="285750" indent="-285750">
              <a:buFont typeface="Arial" panose="020B0604020202020204" pitchFamily="34" charset="0"/>
              <a:buChar char="•"/>
            </a:pPr>
            <a:r>
              <a:rPr lang="en-IN" sz="2400" dirty="0"/>
              <a:t>Easy to start with little coding.</a:t>
            </a:r>
          </a:p>
          <a:p>
            <a:pPr marL="285750" indent="-285750">
              <a:buFont typeface="Arial" panose="020B0604020202020204" pitchFamily="34" charset="0"/>
              <a:buChar char="•"/>
            </a:pPr>
            <a:r>
              <a:rPr lang="en-IN" sz="2400" dirty="0"/>
              <a:t>In Karate one can write JSON expression right within feature file.</a:t>
            </a:r>
          </a:p>
          <a:p>
            <a:pPr marL="285750" indent="-285750">
              <a:buFont typeface="Arial" panose="020B0604020202020204" pitchFamily="34" charset="0"/>
              <a:buChar char="•"/>
            </a:pPr>
            <a:r>
              <a:rPr lang="en-IN" sz="2400" dirty="0"/>
              <a:t>Karate features a very powerful JSON validation</a:t>
            </a:r>
          </a:p>
          <a:p>
            <a:pPr marL="285750" indent="-285750">
              <a:buFont typeface="Arial" panose="020B0604020202020204" pitchFamily="34" charset="0"/>
              <a:buChar char="•"/>
            </a:pPr>
            <a:r>
              <a:rPr lang="en-IN" sz="2400" dirty="0"/>
              <a:t> Karate one do coding in JS or java.</a:t>
            </a:r>
          </a:p>
          <a:p>
            <a:pPr marL="285750" indent="-285750">
              <a:buFont typeface="Arial" panose="020B0604020202020204" pitchFamily="34" charset="0"/>
              <a:buChar char="•"/>
            </a:pPr>
            <a:r>
              <a:rPr lang="en-IN" sz="2400" dirty="0"/>
              <a:t>It has detailed logs and reporting.</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p:txBody>
      </p:sp>
      <p:sp>
        <p:nvSpPr>
          <p:cNvPr id="6" name="TextBox 5">
            <a:extLst>
              <a:ext uri="{FF2B5EF4-FFF2-40B4-BE49-F238E27FC236}">
                <a16:creationId xmlns:a16="http://schemas.microsoft.com/office/drawing/2014/main" id="{70385B99-A2E6-4C7C-AC8C-27C765F7E743}"/>
              </a:ext>
            </a:extLst>
          </p:cNvPr>
          <p:cNvSpPr txBox="1"/>
          <p:nvPr/>
        </p:nvSpPr>
        <p:spPr>
          <a:xfrm>
            <a:off x="6379651" y="1198485"/>
            <a:ext cx="4909352" cy="2554545"/>
          </a:xfrm>
          <a:prstGeom prst="rect">
            <a:avLst/>
          </a:prstGeom>
          <a:noFill/>
        </p:spPr>
        <p:txBody>
          <a:bodyPr wrap="square" rtlCol="0">
            <a:spAutoFit/>
          </a:bodyPr>
          <a:lstStyle/>
          <a:p>
            <a:r>
              <a:rPr lang="en-IN" sz="2800" dirty="0"/>
              <a:t>CONS</a:t>
            </a:r>
          </a:p>
          <a:p>
            <a:pPr marL="285750" indent="-285750">
              <a:buFont typeface="Arial" panose="020B0604020202020204" pitchFamily="34" charset="0"/>
              <a:buChar char="•"/>
            </a:pPr>
            <a:r>
              <a:rPr lang="en-IN" sz="2400" dirty="0"/>
              <a:t>Karate uses its own scripting language.</a:t>
            </a:r>
          </a:p>
          <a:p>
            <a:pPr marL="285750" indent="-285750">
              <a:buFont typeface="Arial" panose="020B0604020202020204" pitchFamily="34" charset="0"/>
              <a:buChar char="•"/>
            </a:pPr>
            <a:r>
              <a:rPr lang="en-IN" sz="2400" dirty="0"/>
              <a:t>Finding errors in code is not easy.</a:t>
            </a:r>
          </a:p>
          <a:p>
            <a:pPr marL="285750" indent="-285750">
              <a:buFont typeface="Arial" panose="020B0604020202020204" pitchFamily="34" charset="0"/>
              <a:buChar char="•"/>
            </a:pPr>
            <a:r>
              <a:rPr lang="en-IN" sz="2400" dirty="0"/>
              <a:t>No Syntax Error Highlighting.</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cf54bb2b-293c-4a3d-a8fe-bd4ab6ce060c">
      <UserInfo>
        <DisplayName>Panda, Sandeep Kumar</DisplayName>
        <AccountId>225</AccountId>
        <AccountType/>
      </UserInfo>
      <UserInfo>
        <DisplayName>Srivastava, Aakankshaa</DisplayName>
        <AccountId>164</AccountId>
        <AccountType/>
      </UserInfo>
      <UserInfo>
        <DisplayName>S, Mourya</DisplayName>
        <AccountId>15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7240815A06A9B49BAEC41AB40CC85DE" ma:contentTypeVersion="12" ma:contentTypeDescription="Create a new document." ma:contentTypeScope="" ma:versionID="dc3c571a7876669bc5d5a1d222a7fcdb">
  <xsd:schema xmlns:xsd="http://www.w3.org/2001/XMLSchema" xmlns:xs="http://www.w3.org/2001/XMLSchema" xmlns:p="http://schemas.microsoft.com/office/2006/metadata/properties" xmlns:ns2="681c63ea-26e5-45cc-b5bd-b6c8d19e66a4" xmlns:ns3="cf54bb2b-293c-4a3d-a8fe-bd4ab6ce060c" targetNamespace="http://schemas.microsoft.com/office/2006/metadata/properties" ma:root="true" ma:fieldsID="fe2213d5e1aff7ec093a65e2bf3ebc13" ns2:_="" ns3:_="">
    <xsd:import namespace="681c63ea-26e5-45cc-b5bd-b6c8d19e66a4"/>
    <xsd:import namespace="cf54bb2b-293c-4a3d-a8fe-bd4ab6ce060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1c63ea-26e5-45cc-b5bd-b6c8d19e66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f54bb2b-293c-4a3d-a8fe-bd4ab6ce060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8DB20A-D50C-48DD-BA64-5622F4887F46}">
  <ds:schemaRefs>
    <ds:schemaRef ds:uri="http://purl.org/dc/dcmitype/"/>
    <ds:schemaRef ds:uri="681c63ea-26e5-45cc-b5bd-b6c8d19e66a4"/>
    <ds:schemaRef ds:uri="http://schemas.microsoft.com/office/infopath/2007/PartnerControls"/>
    <ds:schemaRef ds:uri="http://purl.org/dc/elements/1.1/"/>
    <ds:schemaRef ds:uri="http://schemas.microsoft.com/office/2006/metadata/properties"/>
    <ds:schemaRef ds:uri="cf54bb2b-293c-4a3d-a8fe-bd4ab6ce060c"/>
    <ds:schemaRef ds:uri="http://schemas.microsoft.com/office/2006/documentManagement/types"/>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FD7B75FA-0404-4092-959D-62C971E5EFB4}">
  <ds:schemaRefs>
    <ds:schemaRef ds:uri="http://schemas.microsoft.com/sharepoint/v3/contenttype/forms"/>
  </ds:schemaRefs>
</ds:datastoreItem>
</file>

<file path=customXml/itemProps3.xml><?xml version="1.0" encoding="utf-8"?>
<ds:datastoreItem xmlns:ds="http://schemas.openxmlformats.org/officeDocument/2006/customXml" ds:itemID="{2DBC8D1F-9152-4D0C-9860-6F60DA2734AA}">
  <ds:schemaRefs>
    <ds:schemaRef ds:uri="681c63ea-26e5-45cc-b5bd-b6c8d19e66a4"/>
    <ds:schemaRef ds:uri="cf54bb2b-293c-4a3d-a8fe-bd4ab6ce060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5747</TotalTime>
  <Words>501</Words>
  <Application>Microsoft Office PowerPoint</Application>
  <PresentationFormat>Widescreen</PresentationFormat>
  <Paragraphs>75</Paragraphs>
  <Slides>9</Slides>
  <Notes>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0" baseType="lpstr">
      <vt:lpstr>Abadi</vt:lpstr>
      <vt:lpstr>-apple-system</vt:lpstr>
      <vt:lpstr>Arial</vt:lpstr>
      <vt:lpstr>Calibri</vt:lpstr>
      <vt:lpstr>Calibri Light</vt:lpstr>
      <vt:lpstr>Times New Roman</vt:lpstr>
      <vt:lpstr>Ubuntu</vt:lpstr>
      <vt:lpstr>Ubuntu Medium</vt:lpstr>
      <vt:lpstr>Work Sans</vt:lpstr>
      <vt:lpstr>Office Theme</vt:lpstr>
      <vt:lpstr>think-cell Slide</vt:lpstr>
      <vt:lpstr>PowerPoint Presentation</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nnapati, Ravisankar (Contractor-NBCUniversal)</dc:creator>
  <cp:lastModifiedBy>Kumar S, Manish</cp:lastModifiedBy>
  <cp:revision>246</cp:revision>
  <dcterms:created xsi:type="dcterms:W3CDTF">2022-04-26T22:35:20Z</dcterms:created>
  <dcterms:modified xsi:type="dcterms:W3CDTF">2022-09-05T10:3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240815A06A9B49BAEC41AB40CC85DE</vt:lpwstr>
  </property>
</Properties>
</file>